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325" r:id="rId5"/>
    <p:sldId id="482" r:id="rId6"/>
    <p:sldId id="490" r:id="rId7"/>
    <p:sldId id="480" r:id="rId8"/>
    <p:sldId id="488" r:id="rId9"/>
  </p:sldIdLst>
  <p:sldSz cx="9144000" cy="5143500" type="screen16x9"/>
  <p:notesSz cx="6858000" cy="9144000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02">
          <p15:clr>
            <a:srgbClr val="A4A3A4"/>
          </p15:clr>
        </p15:guide>
        <p15:guide id="2" orient="horz" pos="3027">
          <p15:clr>
            <a:srgbClr val="A4A3A4"/>
          </p15:clr>
        </p15:guide>
        <p15:guide id="3" orient="horz" pos="166">
          <p15:clr>
            <a:srgbClr val="A4A3A4"/>
          </p15:clr>
        </p15:guide>
        <p15:guide id="4" orient="horz" pos="573">
          <p15:clr>
            <a:srgbClr val="A4A3A4"/>
          </p15:clr>
        </p15:guide>
        <p15:guide id="5" orient="horz" pos="2765">
          <p15:clr>
            <a:srgbClr val="A4A3A4"/>
          </p15:clr>
        </p15:guide>
        <p15:guide id="6" orient="horz" pos="480">
          <p15:clr>
            <a:srgbClr val="A4A3A4"/>
          </p15:clr>
        </p15:guide>
        <p15:guide id="7" orient="horz" pos="303">
          <p15:clr>
            <a:srgbClr val="A4A3A4"/>
          </p15:clr>
        </p15:guide>
        <p15:guide id="8" orient="horz" pos="3128">
          <p15:clr>
            <a:srgbClr val="A4A3A4"/>
          </p15:clr>
        </p15:guide>
        <p15:guide id="9" orient="horz" pos="2528">
          <p15:clr>
            <a:srgbClr val="A4A3A4"/>
          </p15:clr>
        </p15:guide>
        <p15:guide id="10" pos="2812">
          <p15:clr>
            <a:srgbClr val="A4A3A4"/>
          </p15:clr>
        </p15:guide>
        <p15:guide id="11" pos="5646">
          <p15:clr>
            <a:srgbClr val="A4A3A4"/>
          </p15:clr>
        </p15:guide>
        <p15:guide id="12" pos="261">
          <p15:clr>
            <a:srgbClr val="A4A3A4"/>
          </p15:clr>
        </p15:guide>
        <p15:guide id="13" pos="2949">
          <p15:clr>
            <a:srgbClr val="A4A3A4"/>
          </p15:clr>
        </p15:guide>
        <p15:guide id="14" pos="113">
          <p15:clr>
            <a:srgbClr val="A4A3A4"/>
          </p15:clr>
        </p15:guide>
        <p15:guide id="15" pos="5500">
          <p15:clr>
            <a:srgbClr val="A4A3A4"/>
          </p15:clr>
        </p15:guide>
        <p15:guide id="16" pos="5281">
          <p15:clr>
            <a:srgbClr val="A4A3A4"/>
          </p15:clr>
        </p15:guide>
        <p15:guide id="17" orient="horz" pos="690">
          <p15:clr>
            <a:srgbClr val="A4A3A4"/>
          </p15:clr>
        </p15:guide>
        <p15:guide id="18" orient="horz" pos="6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clrMru>
    <a:srgbClr val="DADADA"/>
    <a:srgbClr val="FF9966"/>
    <a:srgbClr val="663300"/>
    <a:srgbClr val="FF9900"/>
    <a:srgbClr val="FF5050"/>
    <a:srgbClr val="D50511"/>
    <a:srgbClr val="FF7C80"/>
    <a:srgbClr val="FF9999"/>
    <a:srgbClr val="9311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969EC77-1B40-4C77-A995-AF05D22D4D0E}" styleName="DPDHL Table White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bg1">
              <a:tint val="100000"/>
            </a:schemeClr>
          </a:solidFill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solidFill>
            <a:schemeClr val="bg1"/>
          </a:solidFill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solidFill>
            <a:schemeClr val="bg1"/>
          </a:solidFill>
        </a:fill>
      </a:tcStyle>
    </a:firstRow>
  </a:tblStyle>
  <a:tblStyle styleId="{09810C2D-2C2F-4581-8AFF-CD78C2D722A2}" styleName="DPDHL Table No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99821" autoAdjust="0"/>
  </p:normalViewPr>
  <p:slideViewPr>
    <p:cSldViewPr snapToGrid="0" snapToObjects="1">
      <p:cViewPr>
        <p:scale>
          <a:sx n="150" d="100"/>
          <a:sy n="150" d="100"/>
        </p:scale>
        <p:origin x="108" y="-18"/>
      </p:cViewPr>
      <p:guideLst>
        <p:guide orient="horz" pos="702"/>
        <p:guide orient="horz" pos="3027"/>
        <p:guide orient="horz" pos="166"/>
        <p:guide orient="horz" pos="573"/>
        <p:guide orient="horz" pos="2765"/>
        <p:guide orient="horz" pos="480"/>
        <p:guide orient="horz" pos="303"/>
        <p:guide orient="horz" pos="3128"/>
        <p:guide orient="horz" pos="2528"/>
        <p:guide pos="2812"/>
        <p:guide pos="5646"/>
        <p:guide pos="261"/>
        <p:guide pos="2949"/>
        <p:guide pos="113"/>
        <p:guide pos="5500"/>
        <p:guide pos="5281"/>
        <p:guide orient="horz" pos="690"/>
        <p:guide orient="horz" pos="6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82" d="100"/>
          <a:sy n="82" d="100"/>
        </p:scale>
        <p:origin x="-2064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54600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/>
            </a:lvl1pPr>
          </a:lstStyle>
          <a:p>
            <a:fld id="{19D11D04-14B6-471D-A1D6-B426EF7888B1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1/4/2019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54600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/>
            </a:lvl1pPr>
          </a:lstStyle>
          <a:p>
            <a:r>
              <a:rPr lang="en-US" dirty="0" smtClean="0">
                <a:latin typeface="Arial" pitchFamily="34" charset="0"/>
                <a:cs typeface="Arial" pitchFamily="34" charset="0"/>
              </a:rPr>
              <a:t>Hand out </a:t>
            </a:r>
            <a:fld id="{1987F2A0-9623-4C79-B830-6D590DA5FFFF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4542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 b="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54600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 b="0"/>
            </a:lvl1pPr>
          </a:lstStyle>
          <a:p>
            <a:fld id="{2636F879-443D-410F-A2CF-15E984F48DC2}" type="datetimeFigureOut">
              <a:rPr lang="en-US" smtClean="0"/>
              <a:pPr/>
              <a:t>11/4/2019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 smtClean="0"/>
              <a:t>TextmasterformatedurchKlickenbearbeiten</a:t>
            </a:r>
            <a:endParaRPr lang="en-US" dirty="0" smtClean="0"/>
          </a:p>
          <a:p>
            <a:pPr lvl="1"/>
            <a:r>
              <a:rPr lang="en-US" dirty="0" err="1" smtClean="0"/>
              <a:t>ZweiteEbene</a:t>
            </a:r>
            <a:endParaRPr lang="en-US" dirty="0" smtClean="0"/>
          </a:p>
          <a:p>
            <a:pPr lvl="2"/>
            <a:r>
              <a:rPr lang="en-US" dirty="0" err="1" smtClean="0"/>
              <a:t>DritteEbene</a:t>
            </a:r>
            <a:endParaRPr lang="en-US" dirty="0" smtClean="0"/>
          </a:p>
          <a:p>
            <a:pPr lvl="3"/>
            <a:r>
              <a:rPr lang="en-US" dirty="0" err="1" smtClean="0"/>
              <a:t>VierteEbene</a:t>
            </a:r>
            <a:endParaRPr lang="en-US" dirty="0" smtClean="0"/>
          </a:p>
          <a:p>
            <a:pPr lvl="4"/>
            <a:r>
              <a:rPr lang="en-US" dirty="0" err="1" smtClean="0"/>
              <a:t>Fünfte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 b="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54600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 b="0"/>
            </a:lvl1pPr>
          </a:lstStyle>
          <a:p>
            <a:r>
              <a:rPr lang="en-US" dirty="0" smtClean="0"/>
              <a:t>Notice </a:t>
            </a:r>
            <a:fld id="{AE19FBA5-BE7F-4824-B54D-C07EBA2A496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054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4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9A2C8A3-B7A6-4493-8C9C-982696EF72FE}" type="slidenum">
              <a:rPr lang="en-GB"/>
              <a:pPr/>
              <a:t>1</a:t>
            </a:fld>
            <a:endParaRPr lang="en-GB" dirty="0"/>
          </a:p>
        </p:txBody>
      </p:sp>
      <p:sp>
        <p:nvSpPr>
          <p:cNvPr id="389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4213"/>
            <a:ext cx="6097588" cy="3430587"/>
          </a:xfrm>
          <a:ln/>
        </p:spPr>
      </p:sp>
      <p:sp>
        <p:nvSpPr>
          <p:cNvPr id="389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816" y="4343912"/>
            <a:ext cx="5026369" cy="411582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4667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9A2C8A3-B7A6-4493-8C9C-982696EF72FE}" type="slidenum">
              <a:rPr lang="en-GB"/>
              <a:pPr/>
              <a:t>5</a:t>
            </a:fld>
            <a:endParaRPr lang="en-GB" dirty="0"/>
          </a:p>
        </p:txBody>
      </p:sp>
      <p:sp>
        <p:nvSpPr>
          <p:cNvPr id="389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4213"/>
            <a:ext cx="6097588" cy="3430587"/>
          </a:xfrm>
          <a:ln/>
        </p:spPr>
      </p:sp>
      <p:sp>
        <p:nvSpPr>
          <p:cNvPr id="389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816" y="4343912"/>
            <a:ext cx="5026369" cy="411582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77471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w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2"/>
          <p:cNvSpPr>
            <a:spLocks noGrp="1"/>
          </p:cNvSpPr>
          <p:nvPr>
            <p:ph type="pic" sz="quarter" idx="8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extplatzhalter 16"/>
          <p:cNvSpPr>
            <a:spLocks noGrp="1"/>
          </p:cNvSpPr>
          <p:nvPr>
            <p:ph type="body" sz="quarter" idx="7"/>
          </p:nvPr>
        </p:nvSpPr>
        <p:spPr bwMode="hidden">
          <a:xfrm>
            <a:off x="177800" y="3707288"/>
            <a:ext cx="8784000" cy="126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5936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/>
            </a:lvl1pPr>
          </a:lstStyle>
          <a:p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095125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6000" y="4510483"/>
            <a:ext cx="1800000" cy="259517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1767375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18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254939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Titel 13"/>
          <p:cNvSpPr>
            <a:spLocks noGrp="1"/>
          </p:cNvSpPr>
          <p:nvPr>
            <p:ph type="title" hasCustomPrompt="1"/>
          </p:nvPr>
        </p:nvSpPr>
        <p:spPr>
          <a:xfrm>
            <a:off x="414000" y="381601"/>
            <a:ext cx="8316000" cy="1385999"/>
          </a:xfrm>
        </p:spPr>
        <p:txBody>
          <a:bodyPr/>
          <a:lstStyle>
            <a:lvl1pPr>
              <a:lnSpc>
                <a:spcPct val="90000"/>
              </a:lnSpc>
              <a:defRPr sz="3700" cap="all" baseline="0"/>
            </a:lvl1pPr>
          </a:lstStyle>
          <a:p>
            <a:r>
              <a:rPr lang="de-DE" dirty="0" smtClean="0"/>
              <a:t>SAMPLE TITLE ONE OR</a:t>
            </a:r>
            <a:br>
              <a:rPr lang="de-DE" dirty="0" smtClean="0"/>
            </a:br>
            <a:r>
              <a:rPr lang="de-DE" dirty="0" smtClean="0"/>
              <a:t>TWO LINES, Arial, 37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678798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Business Unit Descriptor, Arial (bold), 12 </a:t>
            </a:r>
            <a:r>
              <a:rPr lang="en-US" dirty="0" err="1" smtClean="0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9949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2" name="Gerade Verbindung 11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Footer Placeholder 2"/>
          <p:cNvSpPr>
            <a:spLocks noGrp="1"/>
          </p:cNvSpPr>
          <p:nvPr userDrawn="1">
            <p:ph type="ftr" sz="quarter" idx="3"/>
          </p:nvPr>
        </p:nvSpPr>
        <p:spPr>
          <a:xfrm>
            <a:off x="2088826" y="4643610"/>
            <a:ext cx="6281461" cy="156194"/>
          </a:xfrm>
        </p:spPr>
        <p:txBody>
          <a:bodyPr/>
          <a:lstStyle/>
          <a:p>
            <a:r>
              <a:rPr lang="it-IT" dirty="0" smtClean="0"/>
              <a:t>Marketing &amp; Business Development – Product Development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6" name="Gerade Verbindung 15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414337" y="1093909"/>
            <a:ext cx="4050000" cy="328729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12"/>
          </p:nvPr>
        </p:nvSpPr>
        <p:spPr>
          <a:xfrm>
            <a:off x="4681538" y="1093909"/>
            <a:ext cx="4050000" cy="328729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Footer Placeholder 2"/>
          <p:cNvSpPr>
            <a:spLocks noGrp="1"/>
          </p:cNvSpPr>
          <p:nvPr userDrawn="1">
            <p:ph type="ftr" sz="quarter" idx="3"/>
          </p:nvPr>
        </p:nvSpPr>
        <p:spPr>
          <a:xfrm>
            <a:off x="2088826" y="4643610"/>
            <a:ext cx="6281461" cy="156194"/>
          </a:xfrm>
        </p:spPr>
        <p:txBody>
          <a:bodyPr/>
          <a:lstStyle/>
          <a:p>
            <a:r>
              <a:rPr lang="it-IT" smtClean="0"/>
              <a:t>Marketing &amp; Business Development 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 bwMode="ltGray">
          <a:xfrm>
            <a:off x="4681537" y="1093909"/>
            <a:ext cx="4050000" cy="3208091"/>
          </a:xfrm>
          <a:prstGeom prst="rect">
            <a:avLst/>
          </a:prstGeom>
          <a:solidFill>
            <a:schemeClr val="accent1"/>
          </a:solidFill>
        </p:spPr>
        <p:txBody>
          <a:bodyPr lIns="360000" tIns="720000" rIns="360000" anchor="t" anchorCtr="1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6" name="Gerade Verbindung 15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sp>
        <p:nvSpPr>
          <p:cNvPr id="26" name="Titel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1"/>
          </p:nvPr>
        </p:nvSpPr>
        <p:spPr>
          <a:xfrm>
            <a:off x="414338" y="1093909"/>
            <a:ext cx="4050000" cy="32878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7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Footer Placeholder 2"/>
          <p:cNvSpPr>
            <a:spLocks noGrp="1"/>
          </p:cNvSpPr>
          <p:nvPr userDrawn="1">
            <p:ph type="ftr" sz="quarter" idx="3"/>
          </p:nvPr>
        </p:nvSpPr>
        <p:spPr>
          <a:xfrm>
            <a:off x="2088826" y="4643610"/>
            <a:ext cx="6281461" cy="156194"/>
          </a:xfrm>
        </p:spPr>
        <p:txBody>
          <a:bodyPr/>
          <a:lstStyle/>
          <a:p>
            <a:r>
              <a:rPr lang="it-IT" smtClean="0"/>
              <a:t>Marketing &amp; Business Development 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 bwMode="ltGray">
          <a:xfrm>
            <a:off x="4681538" y="1093909"/>
            <a:ext cx="4050000" cy="1876091"/>
          </a:xfrm>
          <a:prstGeom prst="rect">
            <a:avLst/>
          </a:prstGeom>
          <a:solidFill>
            <a:schemeClr val="accent1"/>
          </a:solidFill>
        </p:spPr>
        <p:txBody>
          <a:bodyPr lIns="360000" tIns="720000" rIns="360000" anchor="t" anchorCtr="1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 smtClean="0"/>
              <a:t>Click icon to add picture</a:t>
            </a:r>
          </a:p>
        </p:txBody>
      </p:sp>
      <p:sp>
        <p:nvSpPr>
          <p:cNvPr id="16" name="Bildplatzhalter 11"/>
          <p:cNvSpPr>
            <a:spLocks noGrp="1"/>
          </p:cNvSpPr>
          <p:nvPr>
            <p:ph type="pic" sz="quarter" idx="17"/>
          </p:nvPr>
        </p:nvSpPr>
        <p:spPr bwMode="ltGray">
          <a:xfrm>
            <a:off x="4678988" y="3077288"/>
            <a:ext cx="1962000" cy="1242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 anchorCtr="1"/>
          <a:lstStyle>
            <a:lvl1pPr algn="ctr"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7" name="Bildplatzhalter 11"/>
          <p:cNvSpPr>
            <a:spLocks noGrp="1"/>
          </p:cNvSpPr>
          <p:nvPr>
            <p:ph type="pic" sz="quarter" idx="18"/>
          </p:nvPr>
        </p:nvSpPr>
        <p:spPr bwMode="ltGray">
          <a:xfrm>
            <a:off x="6769538" y="3077288"/>
            <a:ext cx="1962000" cy="1242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 anchorCtr="1"/>
          <a:lstStyle>
            <a:lvl1pPr algn="ctr"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cxnSp>
        <p:nvCxnSpPr>
          <p:cNvPr id="21" name="Gerade Verbindung 20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el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6" name="Textfeld 25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20"/>
          </p:nvPr>
        </p:nvSpPr>
        <p:spPr>
          <a:xfrm>
            <a:off x="414338" y="1093909"/>
            <a:ext cx="4049712" cy="32878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8496591" y="4839362"/>
            <a:ext cx="384710" cy="176212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it-IT" dirty="0" smtClean="0"/>
              <a:t>Rev_01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8"/>
          <p:cNvSpPr>
            <a:spLocks noGrp="1"/>
          </p:cNvSpPr>
          <p:nvPr>
            <p:ph type="pic" sz="quarter" idx="13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180000" tIns="180000" rIns="180000" bIns="180000" anchor="ctr" anchorCtr="1"/>
          <a:lstStyle>
            <a:lvl1pPr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 bwMode="hidden">
          <a:xfrm>
            <a:off x="414000" y="2914161"/>
            <a:ext cx="5256000" cy="1772139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50000">
                <a:srgbClr val="FFCC00"/>
              </a:gs>
              <a:gs pos="100000">
                <a:srgbClr val="FFCC00"/>
              </a:gs>
            </a:gsLst>
            <a:lin ang="5400000" scaled="0"/>
          </a:gradFill>
        </p:spPr>
        <p:txBody>
          <a:bodyPr lIns="180000" tIns="432000" rIns="180000" bIns="180000" anchor="b" anchorCtr="0">
            <a:spAutoFit/>
          </a:bodyPr>
          <a:lstStyle>
            <a:lvl1pPr>
              <a:lnSpc>
                <a:spcPct val="100000"/>
              </a:lnSpc>
              <a:defRPr sz="2500" cap="none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 pt”</a:t>
            </a:r>
            <a:endParaRPr lang="en-US" noProof="0" dirty="0" smtClean="0"/>
          </a:p>
        </p:txBody>
      </p:sp>
      <p:sp>
        <p:nvSpPr>
          <p:cNvPr id="9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351000"/>
            <a:ext cx="8316000" cy="3240000"/>
          </a:xfrm>
          <a:prstGeom prst="rect">
            <a:avLst/>
          </a:prstGeom>
        </p:spPr>
        <p:txBody>
          <a:bodyPr lIns="900000" rIns="900000" anchor="ctr"/>
          <a:lstStyle>
            <a:lvl1pPr>
              <a:lnSpc>
                <a:spcPct val="100000"/>
              </a:lnSpc>
              <a:defRPr sz="2500" cap="none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25 pt”</a:t>
            </a:r>
            <a:endParaRPr lang="en-US" noProof="0" dirty="0" smtClean="0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2" name="Textfeld 11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14000" y="1093909"/>
            <a:ext cx="8316000" cy="299823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/>
            </a:lvl1pPr>
            <a:lvl2pPr>
              <a:spcAft>
                <a:spcPts val="0"/>
              </a:spcAft>
              <a:buFontTx/>
              <a:buNone/>
              <a:defRPr sz="1200" b="0" baseline="0"/>
            </a:lvl2pPr>
            <a:lvl3pPr>
              <a:spcAft>
                <a:spcPts val="0"/>
              </a:spcAft>
              <a:buClr>
                <a:schemeClr val="tx1"/>
              </a:buClr>
              <a:defRPr sz="1200" baseline="0"/>
            </a:lvl3pPr>
            <a:lvl4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200" baseline="0"/>
            </a:lvl4pPr>
            <a:lvl5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20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6" name="Rechteck 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7" name="Textfeld 16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 baseline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9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0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3391200"/>
            <a:ext cx="8316000" cy="54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noProof="0" dirty="0" smtClean="0"/>
              <a:t>Thank YOU</a:t>
            </a:r>
            <a:endParaRPr lang="en-US" noProof="0" dirty="0"/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8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4621860"/>
            <a:ext cx="1260000" cy="181662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8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 rot="10800000">
            <a:off x="180000" y="180000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083600"/>
            <a:ext cx="8316000" cy="540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noProof="0" dirty="0" smtClean="0"/>
              <a:t>Thank YOU</a:t>
            </a:r>
            <a:endParaRPr lang="en-US" noProof="0" dirty="0"/>
          </a:p>
        </p:txBody>
      </p:sp>
      <p:sp>
        <p:nvSpPr>
          <p:cNvPr id="10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459000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298800"/>
            <a:ext cx="1260000" cy="18166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 flip="none" rotWithShape="1"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425600"/>
            <a:ext cx="8316000" cy="54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noProof="0" dirty="0" smtClean="0"/>
              <a:t>Thank YOU</a:t>
            </a:r>
            <a:endParaRPr lang="en-US" noProof="0" dirty="0"/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2"/>
          <p:cNvSpPr>
            <a:spLocks noGrp="1"/>
          </p:cNvSpPr>
          <p:nvPr>
            <p:ph type="pic" sz="quarter" idx="8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extplatzhalter 16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0" y="180000"/>
            <a:ext cx="8784000" cy="126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el 9"/>
          <p:cNvSpPr>
            <a:spLocks noGrp="1"/>
          </p:cNvSpPr>
          <p:nvPr>
            <p:ph type="title" hasCustomPrompt="1"/>
          </p:nvPr>
        </p:nvSpPr>
        <p:spPr>
          <a:xfrm>
            <a:off x="414000" y="914400"/>
            <a:ext cx="8316000" cy="1385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37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752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/>
            </a:lvl1pPr>
          </a:lstStyle>
          <a:p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4666226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6000" y="385200"/>
            <a:ext cx="1800000" cy="259517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00400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18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90000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13859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Business Unit Descriptor, Arial (bold), 12 </a:t>
            </a:r>
            <a:r>
              <a:rPr lang="en-US" dirty="0" err="1" smtClean="0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33363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: black font,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11" descr="Verlauf_laengs_large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80000" y="1223100"/>
            <a:ext cx="8784000" cy="3786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8000" y="1296000"/>
            <a:ext cx="8208000" cy="1161000"/>
          </a:xfrm>
        </p:spPr>
        <p:txBody>
          <a:bodyPr/>
          <a:lstStyle>
            <a:lvl1pPr algn="l">
              <a:lnSpc>
                <a:spcPts val="6000"/>
              </a:lnSpc>
              <a:defRPr sz="550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File sharing tool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2592000"/>
            <a:ext cx="8208000" cy="81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Insert here the name of the event</a:t>
            </a:r>
            <a:br>
              <a:rPr lang="en-US" noProof="0" dirty="0" smtClean="0"/>
            </a:br>
            <a:r>
              <a:rPr lang="en-US" noProof="0" dirty="0" smtClean="0"/>
              <a:t>Location, date</a:t>
            </a:r>
            <a:endParaRPr lang="en-US" noProof="0" dirty="0"/>
          </a:p>
        </p:txBody>
      </p:sp>
      <p:sp>
        <p:nvSpPr>
          <p:cNvPr id="8" name="Textplatzhalter 14"/>
          <p:cNvSpPr txBox="1">
            <a:spLocks/>
          </p:cNvSpPr>
          <p:nvPr userDrawn="1"/>
        </p:nvSpPr>
        <p:spPr>
          <a:xfrm>
            <a:off x="467999" y="4576515"/>
            <a:ext cx="4493745" cy="2608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1200" b="0"/>
            </a:lvl1pPr>
          </a:lstStyle>
          <a:p>
            <a:pPr eaLnBrk="1" fontAlgn="auto" hangingPunct="1"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/>
            </a:pPr>
            <a:r>
              <a:rPr lang="en-US" dirty="0" smtClean="0">
                <a:solidFill>
                  <a:srgbClr val="000000"/>
                </a:solidFill>
                <a:latin typeface="Arial"/>
              </a:rPr>
              <a:t>DHL Express</a:t>
            </a:r>
            <a:r>
              <a:rPr lang="en-US" baseline="0" dirty="0" smtClean="0">
                <a:solidFill>
                  <a:srgbClr val="000000"/>
                </a:solidFill>
                <a:latin typeface="Arial"/>
              </a:rPr>
              <a:t> Italy</a:t>
            </a:r>
          </a:p>
        </p:txBody>
      </p:sp>
      <p:pic>
        <p:nvPicPr>
          <p:cNvPr id="9" name="Picture 247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878" b="-9146"/>
          <a:stretch>
            <a:fillRect/>
          </a:stretch>
        </p:blipFill>
        <p:spPr bwMode="auto">
          <a:xfrm>
            <a:off x="6883712" y="4608910"/>
            <a:ext cx="1792288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78456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9"/>
          <p:cNvSpPr>
            <a:spLocks noGrp="1"/>
          </p:cNvSpPr>
          <p:nvPr>
            <p:ph type="title" hasCustomPrompt="1"/>
          </p:nvPr>
        </p:nvSpPr>
        <p:spPr>
          <a:xfrm>
            <a:off x="414000" y="828000"/>
            <a:ext cx="8316000" cy="1385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 smtClean="0"/>
              <a:t>SAMPLE TITLE ONE OR </a:t>
            </a:r>
            <a:br>
              <a:rPr lang="en-US" dirty="0" smtClean="0"/>
            </a:br>
            <a:r>
              <a:rPr lang="en-US" dirty="0" smtClean="0"/>
              <a:t>TWO LINES, Arial, 37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5936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/>
            </a:lvl1pPr>
          </a:lstStyle>
          <a:p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000" y="4517514"/>
            <a:ext cx="1800000" cy="259517"/>
          </a:xfrm>
          <a:prstGeom prst="rect">
            <a:avLst/>
          </a:prstGeom>
          <a:noFill/>
        </p:spPr>
      </p:pic>
      <p:sp>
        <p:nvSpPr>
          <p:cNvPr id="7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214000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18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00000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123860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Business Unit Descriptor, Arial (bold), 12 </a:t>
            </a:r>
            <a:r>
              <a:rPr lang="en-US" dirty="0" err="1" smtClean="0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8456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180000" tIns="180000" rIns="180000" bIns="180000" anchor="ctr" anchorCtr="1"/>
          <a:lstStyle>
            <a:lvl1pPr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0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00"/>
              </a:spcAft>
              <a:buFont typeface="Arial" pitchFamily="34" charset="0"/>
              <a:buNone/>
            </a:pPr>
            <a:endParaRPr lang="en-US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2" name="Foliennummernplatzhalter 26"/>
          <p:cNvSpPr>
            <a:spLocks noGrp="1"/>
          </p:cNvSpPr>
          <p:nvPr>
            <p:ph type="sldNum" sz="quarter" idx="4"/>
          </p:nvPr>
        </p:nvSpPr>
        <p:spPr bwMode="gray">
          <a:xfrm>
            <a:off x="8370286" y="4644000"/>
            <a:ext cx="362863" cy="15619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557CD76-CD08-4D96-8C1E-56B746A3F9F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>
          <a:xfrm>
            <a:off x="413999" y="1105200"/>
            <a:ext cx="4248000" cy="1745093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37 pt</a:t>
            </a:r>
          </a:p>
        </p:txBody>
      </p:sp>
      <p:sp>
        <p:nvSpPr>
          <p:cNvPr id="14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4621860"/>
            <a:ext cx="1260000" cy="181662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8"/>
          <p:cNvSpPr>
            <a:spLocks noGrp="1"/>
          </p:cNvSpPr>
          <p:nvPr>
            <p:ph type="pic" sz="quarter" idx="13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180000" tIns="180000" rIns="180000" bIns="180000" anchor="ctr" anchorCtr="1"/>
          <a:lstStyle>
            <a:lvl1pPr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 rot="10800000">
            <a:off x="180000" y="180000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459360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324000"/>
            <a:ext cx="1260000" cy="181660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14000" y="1105200"/>
            <a:ext cx="6155999" cy="1349998"/>
          </a:xfrm>
        </p:spPr>
        <p:txBody>
          <a:bodyPr anchor="t"/>
          <a:lstStyle>
            <a:lvl1pPr>
              <a:lnSpc>
                <a:spcPct val="90000"/>
              </a:lnSpc>
              <a:defRPr sz="3700" cap="all" baseline="0"/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37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0" name="Textfeld 9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14000" y="1105199"/>
            <a:ext cx="6156000" cy="1350000"/>
          </a:xfrm>
        </p:spPr>
        <p:txBody>
          <a:bodyPr anchor="t"/>
          <a:lstStyle>
            <a:lvl1pPr>
              <a:lnSpc>
                <a:spcPct val="90000"/>
              </a:lnSpc>
              <a:defRPr sz="3700" cap="all" baseline="0"/>
            </a:lvl1pPr>
          </a:lstStyle>
          <a:p>
            <a:r>
              <a:rPr lang="en-US" dirty="0" smtClean="0"/>
              <a:t>section divider with Gradient, Arial, 37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1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4000" y="1093909"/>
            <a:ext cx="4050000" cy="3126116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</a:p>
        </p:txBody>
      </p:sp>
      <p:sp>
        <p:nvSpPr>
          <p:cNvPr id="9" name="Rechteck 8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1" name="Gerade Verbindung 10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18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683150" y="1093909"/>
            <a:ext cx="4050000" cy="3126116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6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19" name="Textfeld 18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38339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Textplatzhalter 18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13999" y="1093909"/>
            <a:ext cx="4050000" cy="20088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12"/>
          </p:nvPr>
        </p:nvSpPr>
        <p:spPr bwMode="ltGray">
          <a:xfrm>
            <a:off x="3855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855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4"/>
          </p:nvPr>
        </p:nvSpPr>
        <p:spPr bwMode="ltGray">
          <a:xfrm>
            <a:off x="5520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520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7" name="Bildplatzhalter 9"/>
          <p:cNvSpPr>
            <a:spLocks noGrp="1"/>
          </p:cNvSpPr>
          <p:nvPr>
            <p:ph type="pic" sz="quarter" idx="16"/>
          </p:nvPr>
        </p:nvSpPr>
        <p:spPr bwMode="ltGray">
          <a:xfrm>
            <a:off x="7185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185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/>
            </a:lvl1pPr>
          </a:lstStyle>
          <a:p>
            <a:pPr lvl="0"/>
            <a:r>
              <a:rPr lang="en-US" smtClean="0"/>
              <a:t>Section #</a:t>
            </a:r>
            <a:endParaRPr lang="en-US" dirty="0"/>
          </a:p>
        </p:txBody>
      </p:sp>
      <p:cxnSp>
        <p:nvCxnSpPr>
          <p:cNvPr id="20" name="Gerade Verbindung 19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33" name="Textfeld 3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38339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" b="0" i="0" u="none" strike="noStrike" cap="none" normalizeH="0" baseline="0" dirty="0" smtClean="0">
              <a:ln>
                <a:noFill/>
              </a:ln>
              <a:solidFill>
                <a:schemeClr val="accent3"/>
              </a:solidFill>
              <a:effectLst/>
              <a:latin typeface="Arial" charset="0"/>
            </a:endParaRPr>
          </a:p>
        </p:txBody>
      </p:sp>
      <p:cxnSp>
        <p:nvCxnSpPr>
          <p:cNvPr id="17" name="Gerade Verbindung 16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rketing &amp; Business Development </a:t>
            </a:r>
          </a:p>
        </p:txBody>
      </p: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>
          <a:xfrm>
            <a:off x="414338" y="1093909"/>
            <a:ext cx="8318500" cy="3287591"/>
          </a:xfrm>
        </p:spPr>
        <p:txBody>
          <a:bodyPr/>
          <a:lstStyle>
            <a:lvl3pPr>
              <a:defRPr/>
            </a:lvl3pPr>
            <a:lvl4pPr>
              <a:defRPr/>
            </a:lvl4pPr>
            <a:lvl5pPr marL="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85841879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8" name="think-cell Folie" r:id="rId24" imgW="360" imgH="360" progId="">
                  <p:embed/>
                </p:oleObj>
              </mc:Choice>
              <mc:Fallback>
                <p:oleObj name="think-cell Folie" r:id="rId2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elplatzhalter 23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idx="1"/>
          </p:nvPr>
        </p:nvSpPr>
        <p:spPr>
          <a:xfrm>
            <a:off x="414000" y="1093909"/>
            <a:ext cx="8316000" cy="329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meta-classification"/>
          <p:cNvSpPr txBox="1"/>
          <p:nvPr/>
        </p:nvSpPr>
        <p:spPr>
          <a:xfrm>
            <a:off x="414000" y="0"/>
            <a:ext cx="1003480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/>
          <a:p>
            <a:pPr lvl="0"/>
            <a:r>
              <a:rPr lang="en-US" sz="800" b="1" dirty="0" smtClean="0">
                <a:solidFill>
                  <a:schemeClr val="accent1"/>
                </a:solidFill>
              </a:rPr>
              <a:t>FOR INTERNAL USE</a:t>
            </a:r>
          </a:p>
        </p:txBody>
      </p:sp>
      <p:grpSp>
        <p:nvGrpSpPr>
          <p:cNvPr id="27" name="dpic_guideLines" hidden="1"/>
          <p:cNvGrpSpPr/>
          <p:nvPr/>
        </p:nvGrpSpPr>
        <p:grpSpPr>
          <a:xfrm>
            <a:off x="0" y="0"/>
            <a:ext cx="9144000" cy="5144400"/>
            <a:chOff x="0" y="0"/>
            <a:chExt cx="9144000" cy="5144400"/>
          </a:xfrm>
        </p:grpSpPr>
        <p:cxnSp>
          <p:nvCxnSpPr>
            <p:cNvPr id="28" name="Gerade Verbindung 27" hidden="1"/>
            <p:cNvCxnSpPr/>
            <p:nvPr/>
          </p:nvCxnSpPr>
          <p:spPr bwMode="gray">
            <a:xfrm>
              <a:off x="41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Gerade Verbindung 28" hidden="1"/>
            <p:cNvCxnSpPr/>
            <p:nvPr/>
          </p:nvCxnSpPr>
          <p:spPr bwMode="gray">
            <a:xfrm>
              <a:off x="873000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Gerade Verbindung 29" hidden="1"/>
            <p:cNvCxnSpPr/>
            <p:nvPr/>
          </p:nvCxnSpPr>
          <p:spPr bwMode="gray">
            <a:xfrm>
              <a:off x="4463255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1" name="Gerade Verbindung 30" hidden="1"/>
            <p:cNvCxnSpPr/>
            <p:nvPr/>
          </p:nvCxnSpPr>
          <p:spPr bwMode="gray">
            <a:xfrm>
              <a:off x="467995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Gerade Verbindung 31" hidden="1"/>
            <p:cNvCxnSpPr/>
            <p:nvPr/>
          </p:nvCxnSpPr>
          <p:spPr bwMode="gray">
            <a:xfrm>
              <a:off x="0" y="477524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Gerade Verbindung 33" hidden="1"/>
            <p:cNvCxnSpPr/>
            <p:nvPr/>
          </p:nvCxnSpPr>
          <p:spPr bwMode="gray">
            <a:xfrm>
              <a:off x="0" y="4802188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Gerade Verbindung 34" hidden="1"/>
            <p:cNvCxnSpPr/>
            <p:nvPr/>
          </p:nvCxnSpPr>
          <p:spPr bwMode="gray">
            <a:xfrm>
              <a:off x="0" y="759612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Gerade Verbindung 35" hidden="1"/>
            <p:cNvCxnSpPr/>
            <p:nvPr/>
          </p:nvCxnSpPr>
          <p:spPr bwMode="gray">
            <a:xfrm>
              <a:off x="0" y="1089945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Gerade Verbindung 36" hidden="1"/>
            <p:cNvCxnSpPr/>
            <p:nvPr/>
          </p:nvCxnSpPr>
          <p:spPr bwMode="gray">
            <a:xfrm>
              <a:off x="0" y="262743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Gerade Verbindung 37" hidden="1"/>
            <p:cNvCxnSpPr/>
            <p:nvPr/>
          </p:nvCxnSpPr>
          <p:spPr bwMode="gray">
            <a:xfrm>
              <a:off x="0" y="400918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Gerade Verbindung 38" hidden="1"/>
            <p:cNvCxnSpPr/>
            <p:nvPr/>
          </p:nvCxnSpPr>
          <p:spPr bwMode="gray">
            <a:xfrm>
              <a:off x="0" y="496202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Gerade Verbindung 39" hidden="1"/>
            <p:cNvCxnSpPr/>
            <p:nvPr/>
          </p:nvCxnSpPr>
          <p:spPr bwMode="gray">
            <a:xfrm>
              <a:off x="896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1" name="Gerade Verbindung 40" hidden="1"/>
            <p:cNvCxnSpPr/>
            <p:nvPr/>
          </p:nvCxnSpPr>
          <p:spPr bwMode="gray">
            <a:xfrm>
              <a:off x="175238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Gerade Verbindung 41" hidden="1"/>
            <p:cNvCxnSpPr/>
            <p:nvPr/>
          </p:nvCxnSpPr>
          <p:spPr bwMode="gray">
            <a:xfrm>
              <a:off x="2088827" y="433180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Gerade Verbindung 42" hidden="1"/>
            <p:cNvCxnSpPr/>
            <p:nvPr/>
          </p:nvCxnSpPr>
          <p:spPr bwMode="gray">
            <a:xfrm>
              <a:off x="8373450" y="433233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2" name="Fußzeilenplatzhalter 21"/>
          <p:cNvSpPr>
            <a:spLocks noGrp="1"/>
          </p:cNvSpPr>
          <p:nvPr>
            <p:ph type="ftr" sz="quarter" idx="3"/>
          </p:nvPr>
        </p:nvSpPr>
        <p:spPr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Marketing &amp; Business Development – Product Development </a:t>
            </a:r>
            <a:endParaRPr lang="de-DE" dirty="0"/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8369013" y="4644000"/>
            <a:ext cx="364137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914400" rtl="0" eaLnBrk="1" latinLnBrk="0" hangingPunct="1"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7727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76" r:id="rId4"/>
    <p:sldLayoutId id="2147483678" r:id="rId5"/>
    <p:sldLayoutId id="2147483691" r:id="rId6"/>
    <p:sldLayoutId id="2147483658" r:id="rId7"/>
    <p:sldLayoutId id="2147483659" r:id="rId8"/>
    <p:sldLayoutId id="2147483650" r:id="rId9"/>
    <p:sldLayoutId id="2147483654" r:id="rId10"/>
    <p:sldLayoutId id="2147483686" r:id="rId11"/>
    <p:sldLayoutId id="2147483687" r:id="rId12"/>
    <p:sldLayoutId id="2147483693" r:id="rId13"/>
    <p:sldLayoutId id="2147483668" r:id="rId14"/>
    <p:sldLayoutId id="2147483667" r:id="rId15"/>
    <p:sldLayoutId id="2147483692" r:id="rId16"/>
    <p:sldLayoutId id="2147483674" r:id="rId17"/>
    <p:sldLayoutId id="2147483675" r:id="rId18"/>
    <p:sldLayoutId id="2147483690" r:id="rId19"/>
    <p:sldLayoutId id="2147483694" r:id="rId20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kern="1200" cap="none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itchFamily="34" charset="0"/>
        <a:buNone/>
        <a:defRPr sz="1200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sz="1200" b="0" i="0" kern="1200" baseline="0">
          <a:solidFill>
            <a:schemeClr val="tx1"/>
          </a:solidFill>
          <a:latin typeface="+mj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4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2.jp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355600" y="1224686"/>
            <a:ext cx="7931150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dirty="0" smtClean="0">
                <a:solidFill>
                  <a:srgbClr val="C00000"/>
                </a:solidFill>
              </a:rPr>
              <a:t>HUB – SATS Information</a:t>
            </a:r>
            <a:endParaRPr lang="it-IT" sz="3200" dirty="0" smtClean="0">
              <a:solidFill>
                <a:srgbClr val="C00000"/>
              </a:solidFill>
            </a:endParaRPr>
          </a:p>
          <a:p>
            <a:endParaRPr lang="it-IT" sz="3200" dirty="0">
              <a:solidFill>
                <a:srgbClr val="C00000"/>
              </a:solidFill>
            </a:endParaRPr>
          </a:p>
          <a:p>
            <a:endParaRPr lang="it-IT" sz="2400" dirty="0" smtClean="0">
              <a:solidFill>
                <a:srgbClr val="C00000"/>
              </a:solidFill>
            </a:endParaRPr>
          </a:p>
          <a:p>
            <a:endParaRPr lang="it-IT" sz="1400" dirty="0" smtClean="0">
              <a:solidFill>
                <a:srgbClr val="C00000"/>
              </a:solidFill>
            </a:endParaRPr>
          </a:p>
          <a:p>
            <a:endParaRPr lang="it-IT" sz="1400" dirty="0">
              <a:solidFill>
                <a:srgbClr val="C00000"/>
              </a:solidFill>
            </a:endParaRPr>
          </a:p>
          <a:p>
            <a:endParaRPr lang="it-IT" sz="1400" dirty="0" smtClean="0">
              <a:solidFill>
                <a:srgbClr val="C00000"/>
              </a:solidFill>
            </a:endParaRPr>
          </a:p>
          <a:p>
            <a:r>
              <a:rPr lang="it-IT" sz="1200" dirty="0" smtClean="0"/>
              <a:t>04 / </a:t>
            </a:r>
            <a:r>
              <a:rPr lang="it-IT" sz="1200" dirty="0" smtClean="0"/>
              <a:t>11 </a:t>
            </a:r>
            <a:r>
              <a:rPr lang="it-IT" sz="1200" dirty="0" smtClean="0"/>
              <a:t>/ 2019</a:t>
            </a:r>
          </a:p>
          <a:p>
            <a:endParaRPr lang="it-IT" sz="1200" dirty="0"/>
          </a:p>
          <a:p>
            <a:endParaRPr lang="it-IT" sz="1200" dirty="0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en-US" dirty="0" smtClean="0"/>
              <a:t>Overview</a:t>
            </a:r>
            <a:endParaRPr lang="it-IT" dirty="0"/>
          </a:p>
        </p:txBody>
      </p:sp>
      <p:sp>
        <p:nvSpPr>
          <p:cNvPr id="9" name="TextBox 8"/>
          <p:cNvSpPr txBox="1"/>
          <p:nvPr/>
        </p:nvSpPr>
        <p:spPr>
          <a:xfrm>
            <a:off x="1192760" y="3267242"/>
            <a:ext cx="1368152" cy="6092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500"/>
              </a:spcAft>
            </a:pPr>
            <a:r>
              <a:rPr lang="it-IT" dirty="0" smtClean="0">
                <a:solidFill>
                  <a:schemeClr val="bg1"/>
                </a:solidFill>
              </a:rPr>
              <a:t>Cyber Security</a:t>
            </a:r>
          </a:p>
        </p:txBody>
      </p:sp>
      <p:sp>
        <p:nvSpPr>
          <p:cNvPr id="6" name="AutoShape 2" descr="Bildergebnis für cia triad"/>
          <p:cNvSpPr>
            <a:spLocks noChangeAspect="1" noChangeArrowheads="1"/>
          </p:cNvSpPr>
          <p:nvPr/>
        </p:nvSpPr>
        <p:spPr bwMode="auto">
          <a:xfrm>
            <a:off x="155575" y="-1652588"/>
            <a:ext cx="3810000" cy="3448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873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High Level Communications Schema – TIER 1 / TIER 2</a:t>
            </a:r>
            <a:endParaRPr lang="it-IT" dirty="0"/>
          </a:p>
        </p:txBody>
      </p:sp>
      <p:grpSp>
        <p:nvGrpSpPr>
          <p:cNvPr id="125" name="Group 124"/>
          <p:cNvGrpSpPr/>
          <p:nvPr/>
        </p:nvGrpSpPr>
        <p:grpSpPr>
          <a:xfrm>
            <a:off x="759193" y="1144837"/>
            <a:ext cx="7545114" cy="3076108"/>
            <a:chOff x="1033736" y="1417887"/>
            <a:chExt cx="7545114" cy="3076108"/>
          </a:xfrm>
        </p:grpSpPr>
        <p:cxnSp>
          <p:nvCxnSpPr>
            <p:cNvPr id="103" name="Straight Arrow Connector 102"/>
            <p:cNvCxnSpPr>
              <a:stCxn id="5" idx="1"/>
              <a:endCxn id="5" idx="3"/>
            </p:cNvCxnSpPr>
            <p:nvPr/>
          </p:nvCxnSpPr>
          <p:spPr bwMode="auto">
            <a:xfrm>
              <a:off x="4331078" y="1551695"/>
              <a:ext cx="2033556" cy="0"/>
            </a:xfrm>
            <a:prstGeom prst="straightConnector1">
              <a:avLst/>
            </a:prstGeom>
            <a:solidFill>
              <a:schemeClr val="bg1"/>
            </a:solidFill>
            <a:ln w="349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98" name="Straight Arrow Connector 97"/>
            <p:cNvCxnSpPr>
              <a:stCxn id="76" idx="3"/>
              <a:endCxn id="76" idx="1"/>
            </p:cNvCxnSpPr>
            <p:nvPr/>
          </p:nvCxnSpPr>
          <p:spPr bwMode="auto">
            <a:xfrm flipH="1">
              <a:off x="4331078" y="4363190"/>
              <a:ext cx="2033556" cy="0"/>
            </a:xfrm>
            <a:prstGeom prst="straightConnector1">
              <a:avLst/>
            </a:prstGeom>
            <a:solidFill>
              <a:schemeClr val="bg1"/>
            </a:solidFill>
            <a:ln w="34925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6" name="Rectangle 5"/>
            <p:cNvSpPr/>
            <p:nvPr/>
          </p:nvSpPr>
          <p:spPr bwMode="auto">
            <a:xfrm>
              <a:off x="3883501" y="1773261"/>
              <a:ext cx="4180251" cy="1754647"/>
            </a:xfrm>
            <a:prstGeom prst="rect">
              <a:avLst/>
            </a:prstGeom>
            <a:noFill/>
            <a:ln w="12700" cap="flat" cmpd="sng" algn="ctr">
              <a:solidFill>
                <a:srgbClr val="00B050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 rot="5400000">
              <a:off x="7638110" y="2805302"/>
              <a:ext cx="1484376" cy="397105"/>
              <a:chOff x="2088107" y="1339651"/>
              <a:chExt cx="873457" cy="397105"/>
            </a:xfrm>
          </p:grpSpPr>
          <p:sp>
            <p:nvSpPr>
              <p:cNvPr id="57" name="Left-Right Arrow 56"/>
              <p:cNvSpPr/>
              <p:nvPr/>
            </p:nvSpPr>
            <p:spPr bwMode="auto">
              <a:xfrm>
                <a:off x="2088107" y="1446663"/>
                <a:ext cx="873457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 rot="16200000">
                <a:off x="2322953" y="1462556"/>
                <a:ext cx="397105" cy="15129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5</a:t>
                </a:r>
                <a:endParaRPr lang="en-US" sz="1200" dirty="0" err="1" smtClean="0"/>
              </a:p>
            </p:txBody>
          </p:sp>
        </p:grpSp>
        <p:grpSp>
          <p:nvGrpSpPr>
            <p:cNvPr id="59" name="Group 58"/>
            <p:cNvGrpSpPr/>
            <p:nvPr/>
          </p:nvGrpSpPr>
          <p:grpSpPr>
            <a:xfrm>
              <a:off x="3890732" y="3643055"/>
              <a:ext cx="3083986" cy="203133"/>
              <a:chOff x="2090150" y="1436637"/>
              <a:chExt cx="871414" cy="203133"/>
            </a:xfrm>
          </p:grpSpPr>
          <p:sp>
            <p:nvSpPr>
              <p:cNvPr id="60" name="Left-Right Arrow 59"/>
              <p:cNvSpPr/>
              <p:nvPr/>
            </p:nvSpPr>
            <p:spPr bwMode="auto">
              <a:xfrm>
                <a:off x="2090150" y="1446663"/>
                <a:ext cx="871414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2361226" y="1436637"/>
                <a:ext cx="320559" cy="203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7</a:t>
                </a:r>
                <a:endParaRPr lang="en-US" sz="1200" dirty="0" err="1" smtClean="0"/>
              </a:p>
            </p:txBody>
          </p:sp>
        </p:grpSp>
        <p:grpSp>
          <p:nvGrpSpPr>
            <p:cNvPr id="62" name="Group 61"/>
            <p:cNvGrpSpPr/>
            <p:nvPr/>
          </p:nvGrpSpPr>
          <p:grpSpPr>
            <a:xfrm>
              <a:off x="3047551" y="3643055"/>
              <a:ext cx="835244" cy="203133"/>
              <a:chOff x="2102374" y="1436637"/>
              <a:chExt cx="859190" cy="203133"/>
            </a:xfrm>
          </p:grpSpPr>
          <p:sp>
            <p:nvSpPr>
              <p:cNvPr id="63" name="Left-Right Arrow 62"/>
              <p:cNvSpPr/>
              <p:nvPr/>
            </p:nvSpPr>
            <p:spPr bwMode="auto">
              <a:xfrm>
                <a:off x="2102374" y="1446663"/>
                <a:ext cx="859190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2361226" y="1436637"/>
                <a:ext cx="320559" cy="203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8</a:t>
                </a:r>
                <a:endParaRPr lang="en-US" sz="1200" dirty="0" err="1" smtClean="0"/>
              </a:p>
            </p:txBody>
          </p:sp>
        </p:grpSp>
        <p:grpSp>
          <p:nvGrpSpPr>
            <p:cNvPr id="65" name="Group 64"/>
            <p:cNvGrpSpPr/>
            <p:nvPr/>
          </p:nvGrpSpPr>
          <p:grpSpPr>
            <a:xfrm>
              <a:off x="2274288" y="3643055"/>
              <a:ext cx="759393" cy="203133"/>
              <a:chOff x="2088107" y="1436637"/>
              <a:chExt cx="873457" cy="203133"/>
            </a:xfrm>
          </p:grpSpPr>
          <p:sp>
            <p:nvSpPr>
              <p:cNvPr id="66" name="Left-Right Arrow 65"/>
              <p:cNvSpPr/>
              <p:nvPr/>
            </p:nvSpPr>
            <p:spPr bwMode="auto">
              <a:xfrm>
                <a:off x="2088107" y="1446663"/>
                <a:ext cx="873457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2361226" y="1436637"/>
                <a:ext cx="320559" cy="203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9</a:t>
                </a:r>
                <a:endParaRPr lang="en-US" sz="1200" dirty="0" err="1" smtClean="0"/>
              </a:p>
            </p:txBody>
          </p:sp>
        </p:grpSp>
        <p:grpSp>
          <p:nvGrpSpPr>
            <p:cNvPr id="71" name="Group 70"/>
            <p:cNvGrpSpPr/>
            <p:nvPr/>
          </p:nvGrpSpPr>
          <p:grpSpPr>
            <a:xfrm>
              <a:off x="6974718" y="3643055"/>
              <a:ext cx="837953" cy="203133"/>
              <a:chOff x="2088107" y="1436637"/>
              <a:chExt cx="873457" cy="203133"/>
            </a:xfrm>
          </p:grpSpPr>
          <p:sp>
            <p:nvSpPr>
              <p:cNvPr id="72" name="Left-Right Arrow 71"/>
              <p:cNvSpPr/>
              <p:nvPr/>
            </p:nvSpPr>
            <p:spPr bwMode="auto">
              <a:xfrm>
                <a:off x="2088107" y="1446663"/>
                <a:ext cx="873457" cy="184244"/>
              </a:xfrm>
              <a:prstGeom prst="leftRightArrow">
                <a:avLst/>
              </a:prstGeom>
              <a:solidFill>
                <a:schemeClr val="bg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953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73" name="TextBox 72"/>
              <p:cNvSpPr txBox="1"/>
              <p:nvPr/>
            </p:nvSpPr>
            <p:spPr>
              <a:xfrm>
                <a:off x="2361226" y="1436637"/>
                <a:ext cx="320559" cy="203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500"/>
                  </a:spcAft>
                </a:pPr>
                <a:r>
                  <a:rPr lang="it-IT" sz="1200" dirty="0" smtClean="0"/>
                  <a:t>T6</a:t>
                </a:r>
                <a:endParaRPr lang="en-US" sz="1200" dirty="0" err="1" smtClean="0"/>
              </a:p>
            </p:txBody>
          </p:sp>
        </p:grpSp>
        <p:cxnSp>
          <p:nvCxnSpPr>
            <p:cNvPr id="9" name="Straight Connector 8"/>
            <p:cNvCxnSpPr>
              <a:stCxn id="81" idx="6"/>
              <a:endCxn id="77" idx="2"/>
            </p:cNvCxnSpPr>
            <p:nvPr/>
          </p:nvCxnSpPr>
          <p:spPr bwMode="auto">
            <a:xfrm>
              <a:off x="3121500" y="1996403"/>
              <a:ext cx="677524" cy="155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3" name="Straight Connector 82"/>
            <p:cNvCxnSpPr>
              <a:stCxn id="78" idx="6"/>
              <a:endCxn id="82" idx="2"/>
            </p:cNvCxnSpPr>
            <p:nvPr/>
          </p:nvCxnSpPr>
          <p:spPr bwMode="auto">
            <a:xfrm>
              <a:off x="3961178" y="3510112"/>
              <a:ext cx="3775542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16" name="Group 115"/>
            <p:cNvGrpSpPr/>
            <p:nvPr/>
          </p:nvGrpSpPr>
          <p:grpSpPr>
            <a:xfrm>
              <a:off x="1033736" y="1417887"/>
              <a:ext cx="7215934" cy="3076108"/>
              <a:chOff x="1033736" y="1328987"/>
              <a:chExt cx="7215934" cy="3076108"/>
            </a:xfrm>
          </p:grpSpPr>
          <p:grpSp>
            <p:nvGrpSpPr>
              <p:cNvPr id="53" name="Group 52"/>
              <p:cNvGrpSpPr/>
              <p:nvPr/>
            </p:nvGrpSpPr>
            <p:grpSpPr>
              <a:xfrm>
                <a:off x="2274288" y="2069755"/>
                <a:ext cx="759392" cy="203133"/>
                <a:chOff x="2133046" y="1361573"/>
                <a:chExt cx="828518" cy="203133"/>
              </a:xfrm>
            </p:grpSpPr>
            <p:sp>
              <p:nvSpPr>
                <p:cNvPr id="54" name="Left-Right Arrow 53"/>
                <p:cNvSpPr/>
                <p:nvPr/>
              </p:nvSpPr>
              <p:spPr bwMode="auto">
                <a:xfrm>
                  <a:off x="2133046" y="1367221"/>
                  <a:ext cx="828518" cy="184244"/>
                </a:xfrm>
                <a:prstGeom prst="leftRightArrow">
                  <a:avLst/>
                </a:prstGeom>
                <a:solidFill>
                  <a:schemeClr val="bg2"/>
                </a:solidFill>
                <a:ln w="127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2000" tIns="36000" rIns="36000" bIns="3600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95363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200" b="0" i="0" u="none" strike="noStrike" cap="none" normalizeH="0" baseline="0" dirty="0" err="1" smtClean="0">
                    <a:ln>
                      <a:noFill/>
                    </a:ln>
                    <a:solidFill>
                      <a:schemeClr val="tx1"/>
                    </a:solidFill>
                    <a:effectLst/>
                  </a:endParaRPr>
                </a:p>
              </p:txBody>
            </p:sp>
            <p:sp>
              <p:nvSpPr>
                <p:cNvPr id="55" name="TextBox 54"/>
                <p:cNvSpPr txBox="1"/>
                <p:nvPr/>
              </p:nvSpPr>
              <p:spPr>
                <a:xfrm>
                  <a:off x="2361226" y="1361573"/>
                  <a:ext cx="320559" cy="20313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>
                    <a:lnSpc>
                      <a:spcPct val="110000"/>
                    </a:lnSpc>
                    <a:spcAft>
                      <a:spcPts val="500"/>
                    </a:spcAft>
                  </a:pPr>
                  <a:r>
                    <a:rPr lang="it-IT" sz="1200" dirty="0" smtClean="0"/>
                    <a:t>T1</a:t>
                  </a:r>
                  <a:endParaRPr lang="en-US" sz="1200" dirty="0" err="1" smtClean="0"/>
                </a:p>
              </p:txBody>
            </p:sp>
          </p:grpSp>
          <p:grpSp>
            <p:nvGrpSpPr>
              <p:cNvPr id="115" name="Group 114"/>
              <p:cNvGrpSpPr/>
              <p:nvPr/>
            </p:nvGrpSpPr>
            <p:grpSpPr>
              <a:xfrm>
                <a:off x="1033736" y="1328987"/>
                <a:ext cx="7215934" cy="3076108"/>
                <a:chOff x="1033736" y="1328987"/>
                <a:chExt cx="7215934" cy="3076108"/>
              </a:xfrm>
            </p:grpSpPr>
            <p:grpSp>
              <p:nvGrpSpPr>
                <p:cNvPr id="114" name="Group 113"/>
                <p:cNvGrpSpPr/>
                <p:nvPr/>
              </p:nvGrpSpPr>
              <p:grpSpPr>
                <a:xfrm>
                  <a:off x="1033736" y="1328987"/>
                  <a:ext cx="7215934" cy="3076108"/>
                  <a:chOff x="1033736" y="1328987"/>
                  <a:chExt cx="7215934" cy="3076108"/>
                </a:xfrm>
              </p:grpSpPr>
              <p:grpSp>
                <p:nvGrpSpPr>
                  <p:cNvPr id="87" name="Group 86"/>
                  <p:cNvGrpSpPr/>
                  <p:nvPr/>
                </p:nvGrpSpPr>
                <p:grpSpPr>
                  <a:xfrm>
                    <a:off x="6974716" y="2075403"/>
                    <a:ext cx="833922" cy="203133"/>
                    <a:chOff x="2088107" y="1361573"/>
                    <a:chExt cx="863138" cy="203133"/>
                  </a:xfrm>
                </p:grpSpPr>
                <p:sp>
                  <p:nvSpPr>
                    <p:cNvPr id="88" name="Left-Right Arrow 87"/>
                    <p:cNvSpPr/>
                    <p:nvPr/>
                  </p:nvSpPr>
                  <p:spPr bwMode="auto">
                    <a:xfrm>
                      <a:off x="2088107" y="1361573"/>
                      <a:ext cx="863138" cy="184244"/>
                    </a:xfrm>
                    <a:prstGeom prst="leftRightArrow">
                      <a:avLst/>
                    </a:prstGeom>
                    <a:solidFill>
                      <a:schemeClr val="bg2"/>
                    </a:solidFill>
                    <a:ln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72000" tIns="36000" rIns="36000" bIns="36000" numCol="1" rtlCol="0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l" defTabSz="99536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err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</a:endParaRPr>
                    </a:p>
                  </p:txBody>
                </p:sp>
                <p:sp>
                  <p:nvSpPr>
                    <p:cNvPr id="89" name="TextBox 88"/>
                    <p:cNvSpPr txBox="1"/>
                    <p:nvPr/>
                  </p:nvSpPr>
                  <p:spPr>
                    <a:xfrm>
                      <a:off x="2361226" y="1361573"/>
                      <a:ext cx="320559" cy="20313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0" rIns="0" bIns="0" rtlCol="0" anchor="ctr">
                      <a:spAutoFit/>
                    </a:bodyPr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500"/>
                        </a:spcAft>
                      </a:pPr>
                      <a:r>
                        <a:rPr lang="it-IT" sz="1200" dirty="0" smtClean="0"/>
                        <a:t>T4</a:t>
                      </a:r>
                      <a:endParaRPr lang="en-US" sz="1200" dirty="0" err="1" smtClean="0"/>
                    </a:p>
                  </p:txBody>
                </p:sp>
              </p:grpSp>
              <p:grpSp>
                <p:nvGrpSpPr>
                  <p:cNvPr id="110" name="Group 109"/>
                  <p:cNvGrpSpPr/>
                  <p:nvPr/>
                </p:nvGrpSpPr>
                <p:grpSpPr>
                  <a:xfrm>
                    <a:off x="1033736" y="1328987"/>
                    <a:ext cx="7215934" cy="3076108"/>
                    <a:chOff x="1033736" y="1328987"/>
                    <a:chExt cx="7215934" cy="3076108"/>
                  </a:xfrm>
                </p:grpSpPr>
                <p:sp>
                  <p:nvSpPr>
                    <p:cNvPr id="5" name="Rectangle 4"/>
                    <p:cNvSpPr/>
                    <p:nvPr/>
                  </p:nvSpPr>
                  <p:spPr>
                    <a:xfrm>
                      <a:off x="4331078" y="1331990"/>
                      <a:ext cx="2033556" cy="261610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pPr algn="ctr"/>
                      <a:r>
                        <a:rPr lang="en-US" sz="1100" b="1" dirty="0" smtClean="0"/>
                        <a:t>SORT_RQST</a:t>
                      </a:r>
                      <a:r>
                        <a:rPr lang="en-US" sz="1100" dirty="0" smtClean="0"/>
                        <a:t> / </a:t>
                      </a:r>
                      <a:r>
                        <a:rPr lang="en-US" sz="1100" b="1" dirty="0"/>
                        <a:t>SORT_RSLT</a:t>
                      </a:r>
                    </a:p>
                  </p:txBody>
                </p:sp>
                <p:grpSp>
                  <p:nvGrpSpPr>
                    <p:cNvPr id="109" name="Group 108"/>
                    <p:cNvGrpSpPr/>
                    <p:nvPr/>
                  </p:nvGrpSpPr>
                  <p:grpSpPr>
                    <a:xfrm>
                      <a:off x="1033736" y="1328987"/>
                      <a:ext cx="7215934" cy="3076108"/>
                      <a:chOff x="1033736" y="1328987"/>
                      <a:chExt cx="7215934" cy="3076108"/>
                    </a:xfrm>
                  </p:grpSpPr>
                  <p:grpSp>
                    <p:nvGrpSpPr>
                      <p:cNvPr id="108" name="Group 107"/>
                      <p:cNvGrpSpPr/>
                      <p:nvPr/>
                    </p:nvGrpSpPr>
                    <p:grpSpPr>
                      <a:xfrm>
                        <a:off x="1033736" y="1328987"/>
                        <a:ext cx="7215934" cy="3070477"/>
                        <a:chOff x="1033736" y="1328987"/>
                        <a:chExt cx="7215934" cy="3070477"/>
                      </a:xfrm>
                    </p:grpSpPr>
                    <p:cxnSp>
                      <p:nvCxnSpPr>
                        <p:cNvPr id="34" name="Straight Connector 33"/>
                        <p:cNvCxnSpPr/>
                        <p:nvPr/>
                      </p:nvCxnSpPr>
                      <p:spPr bwMode="auto">
                        <a:xfrm>
                          <a:off x="3039614" y="1645325"/>
                          <a:ext cx="0" cy="2340000"/>
                        </a:xfrm>
                        <a:prstGeom prst="line">
                          <a:avLst/>
                        </a:prstGeom>
                        <a:solidFill>
                          <a:schemeClr val="bg1"/>
                        </a:solidFill>
                        <a:ln w="12700" cap="flat" cmpd="sng" algn="ctr">
                          <a:solidFill>
                            <a:schemeClr val="accent2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</p:spPr>
                    </p:cxnSp>
                    <p:grpSp>
                      <p:nvGrpSpPr>
                        <p:cNvPr id="107" name="Group 106"/>
                        <p:cNvGrpSpPr/>
                        <p:nvPr/>
                      </p:nvGrpSpPr>
                      <p:grpSpPr>
                        <a:xfrm>
                          <a:off x="1033736" y="1328987"/>
                          <a:ext cx="7215934" cy="3070477"/>
                          <a:chOff x="1033736" y="1328987"/>
                          <a:chExt cx="7215934" cy="3070477"/>
                        </a:xfrm>
                      </p:grpSpPr>
                      <p:cxnSp>
                        <p:nvCxnSpPr>
                          <p:cNvPr id="93" name="Straight Connector 92"/>
                          <p:cNvCxnSpPr/>
                          <p:nvPr/>
                        </p:nvCxnSpPr>
                        <p:spPr bwMode="auto">
                          <a:xfrm>
                            <a:off x="3883501" y="1645325"/>
                            <a:ext cx="0" cy="2340000"/>
                          </a:xfrm>
                          <a:prstGeom prst="line">
                            <a:avLst/>
                          </a:prstGeom>
                          <a:solidFill>
                            <a:schemeClr val="bg1"/>
                          </a:solidFill>
                          <a:ln w="12700" cap="flat" cmpd="sng" algn="ctr">
                            <a:solidFill>
                              <a:schemeClr val="accent2"/>
                            </a:solidFill>
                            <a:prstDash val="solid"/>
                            <a:round/>
                            <a:headEnd type="none" w="med" len="med"/>
                            <a:tailEnd type="none" w="med" len="med"/>
                          </a:ln>
                          <a:effectLst/>
                        </p:spPr>
                      </p:cxnSp>
                      <p:grpSp>
                        <p:nvGrpSpPr>
                          <p:cNvPr id="52" name="Group 51"/>
                          <p:cNvGrpSpPr/>
                          <p:nvPr/>
                        </p:nvGrpSpPr>
                        <p:grpSpPr>
                          <a:xfrm>
                            <a:off x="3890732" y="2072172"/>
                            <a:ext cx="3084695" cy="203133"/>
                            <a:chOff x="2059521" y="1361573"/>
                            <a:chExt cx="914510" cy="203133"/>
                          </a:xfrm>
                        </p:grpSpPr>
                        <p:sp>
                          <p:nvSpPr>
                            <p:cNvPr id="50" name="Left-Right Arrow 49"/>
                            <p:cNvSpPr/>
                            <p:nvPr/>
                          </p:nvSpPr>
                          <p:spPr bwMode="auto">
                            <a:xfrm>
                              <a:off x="2059521" y="1364804"/>
                              <a:ext cx="914510" cy="184244"/>
                            </a:xfrm>
                            <a:prstGeom prst="leftRightArrow">
                              <a:avLst/>
                            </a:prstGeom>
                            <a:solidFill>
                              <a:schemeClr val="bg2"/>
                            </a:solidFill>
                            <a:ln w="12700" cap="flat" cmpd="sng" algn="ctr">
                              <a:noFill/>
                              <a:prstDash val="solid"/>
                              <a:round/>
                              <a:headEnd type="none" w="med" len="med"/>
                              <a:tailEnd type="none" w="med" len="med"/>
                            </a:ln>
                            <a:effectLst/>
                          </p:spPr>
                          <p:txBody>
                            <a:bodyPr vert="horz" wrap="square" lIns="72000" tIns="36000" rIns="36000" bIns="36000" numCol="1" rtlCol="0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indent="0" algn="l" defTabSz="995363" rtl="0" eaLnBrk="0" fontAlgn="base" latinLnBrk="0" hangingPunct="0">
                                <a:lnSpc>
                                  <a:spcPct val="100000"/>
                                </a:lnSpc>
                                <a:spcBef>
                                  <a:spcPct val="0"/>
                                </a:spcBef>
                                <a:spcAft>
                                  <a:spcPct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</a:pPr>
                              <a:endParaRPr kumimoji="0" lang="en-US" sz="1200" b="0" i="0" u="none" strike="noStrike" cap="none" normalizeH="0" baseline="0" dirty="0" err="1" smtClean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</a:endParaRPr>
                            </a:p>
                          </p:txBody>
                        </p:sp>
                        <p:sp>
                          <p:nvSpPr>
                            <p:cNvPr id="51" name="TextBox 50"/>
                            <p:cNvSpPr txBox="1"/>
                            <p:nvPr/>
                          </p:nvSpPr>
                          <p:spPr>
                            <a:xfrm>
                              <a:off x="2361226" y="1361573"/>
                              <a:ext cx="320559" cy="203133"/>
                            </a:xfrm>
                            <a:prstGeom prst="rect">
                              <a:avLst/>
                            </a:prstGeom>
                            <a:noFill/>
                          </p:spPr>
                          <p:txBody>
                            <a:bodyPr wrap="square" lIns="0" tIns="0" rIns="0" bIns="0" rtlCol="0" anchor="ctr">
                              <a:spAutoFit/>
                            </a:bodyPr>
                            <a:lstStyle/>
                            <a:p>
                              <a:pPr algn="ctr">
                                <a:lnSpc>
                                  <a:spcPct val="110000"/>
                                </a:lnSpc>
                                <a:spcAft>
                                  <a:spcPts val="500"/>
                                </a:spcAft>
                              </a:pPr>
                              <a:r>
                                <a:rPr lang="it-IT" sz="1200" dirty="0" smtClean="0"/>
                                <a:t>T3</a:t>
                              </a:r>
                              <a:endParaRPr lang="en-US" sz="1200" dirty="0" err="1" smtClean="0"/>
                            </a:p>
                          </p:txBody>
                        </p:sp>
                      </p:grpSp>
                      <p:grpSp>
                        <p:nvGrpSpPr>
                          <p:cNvPr id="106" name="Group 105"/>
                          <p:cNvGrpSpPr/>
                          <p:nvPr/>
                        </p:nvGrpSpPr>
                        <p:grpSpPr>
                          <a:xfrm>
                            <a:off x="1033736" y="1328987"/>
                            <a:ext cx="7215934" cy="3070477"/>
                            <a:chOff x="1033736" y="1328987"/>
                            <a:chExt cx="7215934" cy="3070477"/>
                          </a:xfrm>
                        </p:grpSpPr>
                        <p:cxnSp>
                          <p:nvCxnSpPr>
                            <p:cNvPr id="36" name="Straight Connector 35"/>
                            <p:cNvCxnSpPr/>
                            <p:nvPr/>
                          </p:nvCxnSpPr>
                          <p:spPr bwMode="auto">
                            <a:xfrm>
                              <a:off x="7818605" y="1645324"/>
                              <a:ext cx="5481" cy="2358000"/>
                            </a:xfrm>
                            <a:prstGeom prst="line">
                              <a:avLst/>
                            </a:prstGeom>
                            <a:solidFill>
                              <a:schemeClr val="bg1"/>
                            </a:solidFill>
                            <a:ln w="12700" cap="flat" cmpd="sng" algn="ctr">
                              <a:solidFill>
                                <a:schemeClr val="accent2"/>
                              </a:solidFill>
                              <a:prstDash val="solid"/>
                              <a:round/>
                              <a:headEnd type="none" w="med" len="med"/>
                              <a:tailEnd type="none" w="med" len="med"/>
                            </a:ln>
                            <a:effectLst/>
                          </p:spPr>
                        </p:cxnSp>
                        <p:grpSp>
                          <p:nvGrpSpPr>
                            <p:cNvPr id="97" name="Group 96"/>
                            <p:cNvGrpSpPr/>
                            <p:nvPr/>
                          </p:nvGrpSpPr>
                          <p:grpSpPr>
                            <a:xfrm>
                              <a:off x="1033736" y="1328987"/>
                              <a:ext cx="7215934" cy="3070477"/>
                              <a:chOff x="1033736" y="1328987"/>
                              <a:chExt cx="7215934" cy="3070477"/>
                            </a:xfrm>
                          </p:grpSpPr>
                          <p:sp>
                            <p:nvSpPr>
                              <p:cNvPr id="3" name="Left Bracket 2"/>
                              <p:cNvSpPr/>
                              <p:nvPr/>
                            </p:nvSpPr>
                            <p:spPr bwMode="auto">
                              <a:xfrm rot="5400000">
                                <a:off x="5307681" y="-945013"/>
                                <a:ext cx="236928" cy="4784927"/>
                              </a:xfrm>
                              <a:prstGeom prst="leftBracket">
                                <a:avLst/>
                              </a:prstGeom>
                              <a:ln w="41275">
                                <a:headEnd type="none" w="med" len="med"/>
                                <a:tailEnd type="none" w="med" len="med"/>
                              </a:ln>
                            </p:spPr>
                            <p:style>
                              <a:lnRef idx="1">
                                <a:schemeClr val="dk1"/>
                              </a:lnRef>
                              <a:fillRef idx="0">
                                <a:schemeClr val="dk1"/>
                              </a:fillRef>
                              <a:effectRef idx="0">
                                <a:schemeClr val="dk1"/>
                              </a:effectRef>
                              <a:fontRef idx="minor">
                                <a:schemeClr val="tx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en-US"/>
                              </a:p>
                            </p:txBody>
                          </p:sp>
                          <p:grpSp>
                            <p:nvGrpSpPr>
                              <p:cNvPr id="95" name="Group 94"/>
                              <p:cNvGrpSpPr/>
                              <p:nvPr/>
                            </p:nvGrpSpPr>
                            <p:grpSpPr>
                              <a:xfrm>
                                <a:off x="1033736" y="1658098"/>
                                <a:ext cx="7215934" cy="2741366"/>
                                <a:chOff x="1033736" y="1658098"/>
                                <a:chExt cx="7215934" cy="2741366"/>
                              </a:xfrm>
                            </p:grpSpPr>
                            <p:grpSp>
                              <p:nvGrpSpPr>
                                <p:cNvPr id="94" name="Group 93"/>
                                <p:cNvGrpSpPr/>
                                <p:nvPr/>
                              </p:nvGrpSpPr>
                              <p:grpSpPr>
                                <a:xfrm>
                                  <a:off x="1033736" y="1658098"/>
                                  <a:ext cx="7215934" cy="2614986"/>
                                  <a:chOff x="1033736" y="1658098"/>
                                  <a:chExt cx="7215934" cy="2614986"/>
                                </a:xfrm>
                              </p:grpSpPr>
                              <p:grpSp>
                                <p:nvGrpSpPr>
                                  <p:cNvPr id="49" name="Group 48"/>
                                  <p:cNvGrpSpPr/>
                                  <p:nvPr/>
                                </p:nvGrpSpPr>
                                <p:grpSpPr>
                                  <a:xfrm>
                                    <a:off x="1033736" y="1658098"/>
                                    <a:ext cx="7215934" cy="2486418"/>
                                    <a:chOff x="1192760" y="1355179"/>
                                    <a:chExt cx="7215934" cy="2486418"/>
                                  </a:xfrm>
                                </p:grpSpPr>
                                <p:sp>
                                  <p:nvSpPr>
                                    <p:cNvPr id="8" name="TextBox 7"/>
                                    <p:cNvSpPr txBox="1"/>
                                    <p:nvPr/>
                                  </p:nvSpPr>
                                  <p:spPr>
                                    <a:xfrm>
                                      <a:off x="1192760" y="2229287"/>
                                      <a:ext cx="1368152" cy="609228"/>
                                    </a:xfrm>
                                    <a:prstGeom prst="rect">
                                      <a:avLst/>
                                    </a:prstGeom>
                                    <a:noFill/>
                                  </p:spPr>
                                  <p:txBody>
                                    <a:bodyPr wrap="square" lIns="0" tIns="0" rIns="0" bIns="0" rtlCol="0">
                                      <a:noAutofit/>
                                    </a:bodyPr>
                                    <a:lstStyle/>
                                    <a:p>
                                      <a:pPr algn="ctr">
                                        <a:spcAft>
                                          <a:spcPts val="500"/>
                                        </a:spcAft>
                                      </a:pPr>
                                      <a:r>
                                        <a:rPr lang="it-IT" dirty="0" smtClean="0">
                                          <a:solidFill>
                                            <a:schemeClr val="bg1"/>
                                          </a:solidFill>
                                        </a:rPr>
                                        <a:t>Data Protection</a:t>
                                      </a:r>
                                    </a:p>
                                  </p:txBody>
                                </p:sp>
                                <p:cxnSp>
                                  <p:nvCxnSpPr>
                                    <p:cNvPr id="12" name="Straight Arrow Connector 11"/>
                                    <p:cNvCxnSpPr/>
                                    <p:nvPr/>
                                  </p:nvCxnSpPr>
                                  <p:spPr bwMode="auto">
                                    <a:xfrm>
                                      <a:off x="4362732" y="2290016"/>
                                      <a:ext cx="2520000" cy="0"/>
                                    </a:xfrm>
                                    <a:prstGeom prst="straightConnector1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4925" cap="flat" cmpd="sng" algn="ctr">
                                      <a:solidFill>
                                        <a:srgbClr val="FF0000"/>
                                      </a:solidFill>
                                      <a:prstDash val="solid"/>
                                      <a:round/>
                                      <a:headEnd type="none" w="med" len="med"/>
                                      <a:tailEnd type="triangle"/>
                                    </a:ln>
                                    <a:effectLst/>
                                  </p:spPr>
                                </p:cxnSp>
                                <p:cxnSp>
                                  <p:nvCxnSpPr>
                                    <p:cNvPr id="13" name="Straight Arrow Connector 12"/>
                                    <p:cNvCxnSpPr/>
                                    <p:nvPr/>
                                  </p:nvCxnSpPr>
                                  <p:spPr bwMode="auto">
                                    <a:xfrm flipH="1">
                                      <a:off x="4268658" y="2800700"/>
                                      <a:ext cx="2520000" cy="0"/>
                                    </a:xfrm>
                                    <a:prstGeom prst="straightConnector1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34925" cap="flat" cmpd="sng" algn="ctr">
                                      <a:solidFill>
                                        <a:srgbClr val="FFCC00"/>
                                      </a:solidFill>
                                      <a:prstDash val="solid"/>
                                      <a:round/>
                                      <a:headEnd type="none" w="med" len="med"/>
                                      <a:tailEnd type="triangle"/>
                                    </a:ln>
                                    <a:effectLst/>
                                  </p:spPr>
                                </p:cxnSp>
                                <p:grpSp>
                                  <p:nvGrpSpPr>
                                    <p:cNvPr id="17" name="Group 16"/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7560729" y="1990550"/>
                                      <a:ext cx="847965" cy="1114644"/>
                                      <a:chOff x="7560729" y="1990550"/>
                                      <a:chExt cx="847965" cy="1114644"/>
                                    </a:xfrm>
                                  </p:grpSpPr>
                                  <p:pic>
                                    <p:nvPicPr>
                                      <p:cNvPr id="15" name="Picture 14"/>
                                      <p:cNvPicPr>
                                        <a:picLocks noChangeAspect="1"/>
                                      </p:cNvPicPr>
                                      <p:nvPr/>
                                    </p:nvPicPr>
                                    <p:blipFill>
                                      <a:blip r:embed="rId2">
                                        <a:extLst>
                                          <a:ext uri="{28A0092B-C50C-407E-A947-70E740481C1C}">
                                            <a14:useLocalDpi xmlns:a14="http://schemas.microsoft.com/office/drawing/2010/main" val="0"/>
                                          </a:ext>
                                        </a:extLst>
                                      </a:blip>
                                      <a:stretch>
                                        <a:fillRect/>
                                      </a:stretch>
                                    </p:blipFill>
                                    <p:spPr>
                                      <a:xfrm>
                                        <a:off x="7560729" y="1990550"/>
                                        <a:ext cx="847965" cy="847965"/>
                                      </a:xfrm>
                                      <a:prstGeom prst="rect">
                                        <a:avLst/>
                                      </a:prstGeom>
                                    </p:spPr>
                                  </p:pic>
                                  <p:sp>
                                    <p:nvSpPr>
                                      <p:cNvPr id="16" name="TextBox 15"/>
                                      <p:cNvSpPr txBox="1"/>
                                      <p:nvPr/>
                                    </p:nvSpPr>
                                    <p:spPr>
                                      <a:xfrm>
                                        <a:off x="7668745" y="2812357"/>
                                        <a:ext cx="622406" cy="292837"/>
                                      </a:xfrm>
                                      <a:prstGeom prst="rect">
                                        <a:avLst/>
                                      </a:prstGeom>
                                      <a:noFill/>
                                    </p:spPr>
                                    <p:txBody>
                                      <a:bodyPr wrap="square" lIns="0" tIns="0" rIns="0" bIns="0" rtlCol="0">
                                        <a:spAutoFit/>
                                      </a:bodyPr>
                                      <a:lstStyle/>
                                      <a:p>
                                        <a:pPr algn="ctr">
                                          <a:lnSpc>
                                            <a:spcPct val="110000"/>
                                          </a:lnSpc>
                                          <a:spcAft>
                                            <a:spcPts val="500"/>
                                          </a:spcAft>
                                        </a:pPr>
                                        <a:r>
                                          <a:rPr lang="it-IT" sz="900" b="1" dirty="0" smtClean="0"/>
                                          <a:t>Server TIER1</a:t>
                                        </a:r>
                                        <a:endParaRPr lang="en-US" sz="900" b="1" dirty="0" err="1" smtClean="0"/>
                                      </a:p>
                                    </p:txBody>
                                  </p:sp>
                                </p:grpSp>
                                <p:grpSp>
                                  <p:nvGrpSpPr>
                                    <p:cNvPr id="22" name="Group 21"/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1266085" y="1990550"/>
                                      <a:ext cx="2360067" cy="1844205"/>
                                      <a:chOff x="6043864" y="1990550"/>
                                      <a:chExt cx="2360067" cy="1844205"/>
                                    </a:xfrm>
                                  </p:grpSpPr>
                                  <p:sp>
                                    <p:nvSpPr>
                                      <p:cNvPr id="24" name="TextBox 23"/>
                                      <p:cNvSpPr txBox="1"/>
                                      <p:nvPr/>
                                    </p:nvSpPr>
                                    <p:spPr>
                                      <a:xfrm>
                                        <a:off x="6043864" y="3682406"/>
                                        <a:ext cx="946202" cy="152349"/>
                                      </a:xfrm>
                                      <a:prstGeom prst="rect">
                                        <a:avLst/>
                                      </a:prstGeom>
                                      <a:noFill/>
                                    </p:spPr>
                                    <p:txBody>
                                      <a:bodyPr wrap="square" lIns="0" tIns="0" rIns="0" bIns="0" rtlCol="0">
                                        <a:spAutoFit/>
                                      </a:bodyPr>
                                      <a:lstStyle/>
                                      <a:p>
                                        <a:pPr algn="ctr">
                                          <a:lnSpc>
                                            <a:spcPct val="110000"/>
                                          </a:lnSpc>
                                          <a:spcAft>
                                            <a:spcPts val="500"/>
                                          </a:spcAft>
                                        </a:pPr>
                                        <a:r>
                                          <a:rPr lang="it-IT" sz="900" b="1" dirty="0" smtClean="0"/>
                                          <a:t>Server TIER2</a:t>
                                        </a:r>
                                        <a:endParaRPr lang="en-US" sz="900" b="1" dirty="0" err="1" smtClean="0"/>
                                      </a:p>
                                    </p:txBody>
                                  </p:sp>
                                  <p:pic>
                                    <p:nvPicPr>
                                      <p:cNvPr id="23" name="Picture 22"/>
                                      <p:cNvPicPr>
                                        <a:picLocks noChangeAspect="1"/>
                                      </p:cNvPicPr>
                                      <p:nvPr/>
                                    </p:nvPicPr>
                                    <p:blipFill>
                                      <a:blip r:embed="rId2">
                                        <a:extLst>
                                          <a:ext uri="{28A0092B-C50C-407E-A947-70E740481C1C}">
                                            <a14:useLocalDpi xmlns:a14="http://schemas.microsoft.com/office/drawing/2010/main" val="0"/>
                                          </a:ext>
                                        </a:extLst>
                                      </a:blip>
                                      <a:stretch>
                                        <a:fillRect/>
                                      </a:stretch>
                                    </p:blipFill>
                                    <p:spPr>
                                      <a:xfrm>
                                        <a:off x="7555966" y="1990550"/>
                                        <a:ext cx="847965" cy="847965"/>
                                      </a:xfrm>
                                      <a:prstGeom prst="rect">
                                        <a:avLst/>
                                      </a:prstGeom>
                                    </p:spPr>
                                  </p:pic>
                                </p:grpSp>
                                <p:grpSp>
                                  <p:nvGrpSpPr>
                                    <p:cNvPr id="25" name="Group 24"/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3681397" y="1984934"/>
                                      <a:ext cx="707532" cy="1123423"/>
                                      <a:chOff x="5222348" y="3135290"/>
                                      <a:chExt cx="707532" cy="1123423"/>
                                    </a:xfrm>
                                  </p:grpSpPr>
                                  <p:pic>
                                    <p:nvPicPr>
                                      <p:cNvPr id="27" name="Picture 26"/>
                                      <p:cNvPicPr>
                                        <a:picLocks noChangeAspect="1"/>
                                      </p:cNvPicPr>
                                      <p:nvPr/>
                                    </p:nvPicPr>
                                    <p:blipFill>
                                      <a:blip r:embed="rId3">
                                        <a:extLst>
                                          <a:ext uri="{28A0092B-C50C-407E-A947-70E740481C1C}">
                                            <a14:useLocalDpi xmlns:a14="http://schemas.microsoft.com/office/drawing/2010/main" val="0"/>
                                          </a:ext>
                                        </a:extLst>
                                      </a:blip>
                                      <a:stretch>
                                        <a:fillRect/>
                                      </a:stretch>
                                    </p:blipFill>
                                    <p:spPr>
                                      <a:xfrm flipH="1">
                                        <a:off x="5222348" y="3644416"/>
                                        <a:ext cx="614297" cy="614297"/>
                                      </a:xfrm>
                                      <a:prstGeom prst="rect">
                                        <a:avLst/>
                                      </a:prstGeom>
                                    </p:spPr>
                                  </p:pic>
                                  <p:pic>
                                    <p:nvPicPr>
                                      <p:cNvPr id="26" name="Picture 25"/>
                                      <p:cNvPicPr>
                                        <a:picLocks noChangeAspect="1"/>
                                      </p:cNvPicPr>
                                      <p:nvPr/>
                                    </p:nvPicPr>
                                    <p:blipFill>
                                      <a:blip r:embed="rId3">
                                        <a:extLst>
                                          <a:ext uri="{28A0092B-C50C-407E-A947-70E740481C1C}">
                                            <a14:useLocalDpi xmlns:a14="http://schemas.microsoft.com/office/drawing/2010/main" val="0"/>
                                          </a:ext>
                                        </a:extLst>
                                      </a:blip>
                                      <a:stretch>
                                        <a:fillRect/>
                                      </a:stretch>
                                    </p:blipFill>
                                    <p:spPr>
                                      <a:xfrm>
                                        <a:off x="5315583" y="3135290"/>
                                        <a:ext cx="614297" cy="614297"/>
                                      </a:xfrm>
                                      <a:prstGeom prst="rect">
                                        <a:avLst/>
                                      </a:prstGeom>
                                    </p:spPr>
                                  </p:pic>
                                </p:grpSp>
                                <p:pic>
                                  <p:nvPicPr>
                                    <p:cNvPr id="30" name="Picture 29"/>
                                    <p:cNvPicPr>
                                      <a:picLocks noChangeAspect="1"/>
                                    </p:cNvPicPr>
                                    <p:nvPr/>
                                  </p:nvPicPr>
                                  <p:blipFill>
                                    <a:blip r:embed="rId4">
                                      <a:extLst>
                                        <a:ext uri="{28A0092B-C50C-407E-A947-70E740481C1C}">
                                          <a14:useLocalDpi xmlns:a14="http://schemas.microsoft.com/office/drawing/2010/main" val="0"/>
                                        </a:ext>
                                      </a:extLst>
                                    </a:blip>
                                    <a:stretch>
                                      <a:fillRect/>
                                    </a:stretch>
                                  </p:blipFill>
                                  <p:spPr>
                                    <a:xfrm>
                                      <a:off x="1463613" y="1495678"/>
                                      <a:ext cx="551724" cy="551724"/>
                                    </a:xfrm>
                                    <a:prstGeom prst="rect">
                                      <a:avLst/>
                                    </a:prstGeom>
                                  </p:spPr>
                                </p:pic>
                                <p:pic>
                                  <p:nvPicPr>
                                    <p:cNvPr id="32" name="Picture 31"/>
                                    <p:cNvPicPr>
                                      <a:picLocks noChangeAspect="1"/>
                                    </p:cNvPicPr>
                                    <p:nvPr/>
                                  </p:nvPicPr>
                                  <p:blipFill>
                                    <a:blip r:embed="rId5" cstate="print">
                                      <a:extLst>
                                        <a:ext uri="{28A0092B-C50C-407E-A947-70E740481C1C}">
                                          <a14:useLocalDpi xmlns:a14="http://schemas.microsoft.com/office/drawing/2010/main"/>
                                        </a:ext>
                                      </a:extLst>
                                    </a:blip>
                                    <a:stretch>
                                      <a:fillRect/>
                                    </a:stretch>
                                  </p:blipFill>
                                  <p:spPr>
                                    <a:xfrm>
                                      <a:off x="1227688" y="2375399"/>
                                      <a:ext cx="977658" cy="466449"/>
                                    </a:xfrm>
                                    <a:prstGeom prst="rect">
                                      <a:avLst/>
                                    </a:prstGeom>
                                  </p:spPr>
                                </p:pic>
                                <p:pic>
                                  <p:nvPicPr>
                                    <p:cNvPr id="33" name="Picture 32"/>
                                    <p:cNvPicPr>
                                      <a:picLocks noChangeAspect="1"/>
                                    </p:cNvPicPr>
                                    <p:nvPr/>
                                  </p:nvPicPr>
                                  <p:blipFill>
                                    <a:blip r:embed="rId6">
                                      <a:duotone>
                                        <a:schemeClr val="accent5">
                                          <a:shade val="45000"/>
                                          <a:satMod val="135000"/>
                                        </a:schemeClr>
                                        <a:prstClr val="white"/>
                                      </a:duotone>
                                      <a:extLst>
                                        <a:ext uri="{28A0092B-C50C-407E-A947-70E740481C1C}">
                                          <a14:useLocalDpi xmlns:a14="http://schemas.microsoft.com/office/drawing/2010/main" val="0"/>
                                        </a:ext>
                                      </a:extLst>
                                    </a:blip>
                                    <a:stretch>
                                      <a:fillRect/>
                                    </a:stretch>
                                  </p:blipFill>
                                  <p:spPr>
                                    <a:xfrm>
                                      <a:off x="1488770" y="3202840"/>
                                      <a:ext cx="455494" cy="455494"/>
                                    </a:xfrm>
                                    <a:prstGeom prst="rect">
                                      <a:avLst/>
                                    </a:prstGeom>
                                  </p:spPr>
                                </p:pic>
                                <p:cxnSp>
                                  <p:nvCxnSpPr>
                                    <p:cNvPr id="35" name="Elbow Connector 34"/>
                                    <p:cNvCxnSpPr>
                                      <a:stCxn id="23" idx="1"/>
                                      <a:endCxn id="30" idx="3"/>
                                    </p:cNvCxnSpPr>
                                    <p:nvPr/>
                                  </p:nvCxnSpPr>
                                  <p:spPr bwMode="auto">
                                    <a:xfrm rot="10800000">
                                      <a:off x="2015337" y="1771541"/>
                                      <a:ext cx="762850" cy="642993"/>
                                    </a:xfrm>
                                    <a:prstGeom prst="bentConnector3">
                                      <a:avLst/>
                                    </a:prstGeom>
                                    <a:solidFill>
                                      <a:schemeClr val="bg1"/>
                                    </a:solidFill>
                                    <a:ln w="12700" cap="flat" cmpd="sng" algn="ctr">
                                      <a:solidFill>
                                        <a:schemeClr val="accent2"/>
                                      </a:solidFill>
                                      <a:prstDash val="solid"/>
                                      <a:round/>
                                      <a:headEnd type="none" w="med" len="med"/>
                                      <a:tailEnd type="none" w="med" len="med"/>
                                    </a:ln>
                                    <a:effectLst/>
                                  </p:spPr>
                                </p:cxnSp>
                                <p:cxnSp>
                                  <p:nvCxnSpPr>
                                    <p:cNvPr id="37" name="Elbow Connector 36"/>
                                    <p:cNvCxnSpPr>
                                      <a:stCxn id="23" idx="1"/>
                                      <a:endCxn id="33" idx="3"/>
                                    </p:cNvCxnSpPr>
                                    <p:nvPr/>
                                  </p:nvCxnSpPr>
                                  <p:spPr bwMode="auto">
                                    <a:xfrm rot="10800000" flipV="1">
                                      <a:off x="1944265" y="2414533"/>
                                      <a:ext cx="833923" cy="1016054"/>
                                    </a:xfrm>
                                    <a:prstGeom prst="bentConnector3">
                                      <a:avLst>
                                        <a:gd name="adj1" fmla="val 45858"/>
                                      </a:avLst>
                                    </a:prstGeom>
                                    <a:solidFill>
                                      <a:schemeClr val="bg1"/>
                                    </a:solidFill>
                                    <a:ln w="12700" cap="flat" cmpd="sng" algn="ctr">
                                      <a:solidFill>
                                        <a:schemeClr val="accent2"/>
                                      </a:solidFill>
                                      <a:prstDash val="solid"/>
                                      <a:round/>
                                      <a:headEnd type="none" w="med" len="med"/>
                                      <a:tailEnd type="none" w="med" len="med"/>
                                    </a:ln>
                                    <a:effectLst/>
                                  </p:spPr>
                                </p:cxnSp>
                                <p:sp>
                                  <p:nvSpPr>
                                    <p:cNvPr id="43" name="TextBox 42"/>
                                    <p:cNvSpPr txBox="1"/>
                                    <p:nvPr/>
                                  </p:nvSpPr>
                                  <p:spPr>
                                    <a:xfrm>
                                      <a:off x="2890966" y="3701109"/>
                                      <a:ext cx="622406" cy="140488"/>
                                    </a:xfrm>
                                    <a:prstGeom prst="rect">
                                      <a:avLst/>
                                    </a:prstGeom>
                                    <a:noFill/>
                                  </p:spPr>
                                  <p:txBody>
                                    <a:bodyPr wrap="square" lIns="0" tIns="0" rIns="0" bIns="0" rtlCol="0" anchor="ctr">
                                      <a:spAutoFit/>
                                    </a:bodyPr>
                                    <a:lstStyle/>
                                    <a:p>
                                      <a:pPr algn="ctr">
                                        <a:lnSpc>
                                          <a:spcPct val="110000"/>
                                        </a:lnSpc>
                                        <a:spcAft>
                                          <a:spcPts val="500"/>
                                        </a:spcAft>
                                      </a:pPr>
                                      <a:r>
                                        <a:rPr lang="it-IT" sz="900" b="1" dirty="0" smtClean="0"/>
                                        <a:t>GTW TIER2</a:t>
                                      </a:r>
                                      <a:endParaRPr lang="en-US" sz="900" b="1" dirty="0" err="1" smtClean="0"/>
                                    </a:p>
                                  </p:txBody>
                                </p:sp>
                                <p:grpSp>
                                  <p:nvGrpSpPr>
                                    <p:cNvPr id="48" name="Group 47"/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6775010" y="1355179"/>
                                      <a:ext cx="707532" cy="2340000"/>
                                      <a:chOff x="6775010" y="1355179"/>
                                      <a:chExt cx="707532" cy="2340000"/>
                                    </a:xfrm>
                                  </p:grpSpPr>
                                  <p:cxnSp>
                                    <p:nvCxnSpPr>
                                      <p:cNvPr id="46" name="Straight Connector 45"/>
                                      <p:cNvCxnSpPr/>
                                      <p:nvPr/>
                                    </p:nvCxnSpPr>
                                    <p:spPr bwMode="auto">
                                      <a:xfrm>
                                        <a:off x="7134449" y="1355179"/>
                                        <a:ext cx="0" cy="2340000"/>
                                      </a:xfrm>
                                      <a:prstGeom prst="line">
                                        <a:avLst/>
                                      </a:prstGeom>
                                      <a:solidFill>
                                        <a:schemeClr val="bg1"/>
                                      </a:solidFill>
                                      <a:ln w="12700" cap="flat" cmpd="sng" algn="ctr">
                                        <a:solidFill>
                                          <a:schemeClr val="accent2"/>
                                        </a:solidFill>
                                        <a:prstDash val="solid"/>
                                        <a:round/>
                                        <a:headEnd type="none" w="med" len="med"/>
                                        <a:tailEnd type="none" w="med" len="med"/>
                                      </a:ln>
                                      <a:effectLst/>
                                    </p:spPr>
                                  </p:cxnSp>
                                  <p:grpSp>
                                    <p:nvGrpSpPr>
                                      <p:cNvPr id="21" name="Group 20"/>
                                      <p:cNvGrpSpPr/>
                                      <p:nvPr/>
                                    </p:nvGrpSpPr>
                                    <p:grpSpPr>
                                      <a:xfrm>
                                        <a:off x="6775010" y="1984934"/>
                                        <a:ext cx="707532" cy="1123423"/>
                                        <a:chOff x="5222348" y="3135290"/>
                                        <a:chExt cx="707532" cy="1123423"/>
                                      </a:xfrm>
                                    </p:grpSpPr>
                                    <p:pic>
                                      <p:nvPicPr>
                                        <p:cNvPr id="19" name="Picture 18"/>
                                        <p:cNvPicPr>
                                          <a:picLocks noChangeAspect="1"/>
                                        </p:cNvPicPr>
                                        <p:nvPr/>
                                      </p:nvPicPr>
                                      <p:blipFill>
                                        <a:blip r:embed="rId3">
                                          <a:extLst>
                                            <a:ext uri="{28A0092B-C50C-407E-A947-70E740481C1C}">
                                              <a14:useLocalDpi xmlns:a14="http://schemas.microsoft.com/office/drawing/2010/main" val="0"/>
                                            </a:ext>
                                          </a:extLst>
                                        </a:blip>
                                        <a:stretch>
                                          <a:fillRect/>
                                        </a:stretch>
                                      </p:blipFill>
                                      <p:spPr>
                                        <a:xfrm>
                                          <a:off x="5315583" y="3135290"/>
                                          <a:ext cx="614297" cy="614297"/>
                                        </a:xfrm>
                                        <a:prstGeom prst="rect">
                                          <a:avLst/>
                                        </a:prstGeom>
                                      </p:spPr>
                                    </p:pic>
                                    <p:pic>
                                      <p:nvPicPr>
                                        <p:cNvPr id="20" name="Picture 19"/>
                                        <p:cNvPicPr>
                                          <a:picLocks noChangeAspect="1"/>
                                        </p:cNvPicPr>
                                        <p:nvPr/>
                                      </p:nvPicPr>
                                      <p:blipFill>
                                        <a:blip r:embed="rId3">
                                          <a:extLst>
                                            <a:ext uri="{28A0092B-C50C-407E-A947-70E740481C1C}">
                                              <a14:useLocalDpi xmlns:a14="http://schemas.microsoft.com/office/drawing/2010/main" val="0"/>
                                            </a:ext>
                                          </a:extLst>
                                        </a:blip>
                                        <a:stretch>
                                          <a:fillRect/>
                                        </a:stretch>
                                      </p:blipFill>
                                      <p:spPr>
                                        <a:xfrm flipH="1">
                                          <a:off x="5222348" y="3644416"/>
                                          <a:ext cx="614297" cy="614297"/>
                                        </a:xfrm>
                                        <a:prstGeom prst="rect">
                                          <a:avLst/>
                                        </a:prstGeom>
                                      </p:spPr>
                                    </p:pic>
                                  </p:grpSp>
                                </p:grpSp>
                              </p:grpSp>
                              <p:sp>
                                <p:nvSpPr>
                                  <p:cNvPr id="38" name="TextBox 37"/>
                                  <p:cNvSpPr txBox="1"/>
                                  <p:nvPr/>
                                </p:nvSpPr>
                                <p:spPr>
                                  <a:xfrm>
                                    <a:off x="3569707" y="3980247"/>
                                    <a:ext cx="622406" cy="292837"/>
                                  </a:xfrm>
                                  <a:prstGeom prst="rect">
                                    <a:avLst/>
                                  </a:prstGeom>
                                  <a:noFill/>
                                </p:spPr>
                                <p:txBody>
                                  <a:bodyPr wrap="square" lIns="0" tIns="0" rIns="0" bIns="0" rtlCol="0" anchor="ctr">
                                    <a:spAutoFit/>
                                  </a:bodyPr>
                                  <a:lstStyle/>
                                  <a:p>
                                    <a:pPr algn="ctr">
                                      <a:lnSpc>
                                        <a:spcPct val="110000"/>
                                      </a:lnSpc>
                                      <a:spcAft>
                                        <a:spcPts val="500"/>
                                      </a:spcAft>
                                    </a:pPr>
                                    <a:r>
                                      <a:rPr lang="it-IT" sz="900" b="1" dirty="0" smtClean="0"/>
                                      <a:t>MQ CLIENT</a:t>
                                    </a:r>
                                    <a:endParaRPr lang="en-US" sz="900" b="1" dirty="0" err="1" smtClean="0"/>
                                  </a:p>
                                </p:txBody>
                              </p:sp>
                            </p:grpSp>
                            <p:sp>
                              <p:nvSpPr>
                                <p:cNvPr id="39" name="TextBox 38"/>
                                <p:cNvSpPr txBox="1"/>
                                <p:nvPr/>
                              </p:nvSpPr>
                              <p:spPr>
                                <a:xfrm>
                                  <a:off x="6664221" y="3980247"/>
                                  <a:ext cx="622406" cy="292837"/>
                                </a:xfrm>
                                <a:prstGeom prst="rect">
                                  <a:avLst/>
                                </a:prstGeom>
                                <a:noFill/>
                              </p:spPr>
                              <p:txBody>
                                <a:bodyPr wrap="square" lIns="0" tIns="0" rIns="0" bIns="0" rtlCol="0" anchor="ctr">
                                  <a:spAutoFit/>
                                </a:bodyPr>
                                <a:lstStyle/>
                                <a:p>
                                  <a:pPr algn="ctr">
                                    <a:lnSpc>
                                      <a:spcPct val="110000"/>
                                    </a:lnSpc>
                                    <a:spcAft>
                                      <a:spcPts val="500"/>
                                    </a:spcAft>
                                  </a:pPr>
                                  <a:r>
                                    <a:rPr lang="it-IT" sz="900" b="1" dirty="0" smtClean="0"/>
                                    <a:t>MQ CLIENT</a:t>
                                  </a:r>
                                  <a:endParaRPr lang="en-US" sz="900" b="1" dirty="0" err="1" smtClean="0"/>
                                </a:p>
                              </p:txBody>
                            </p:sp>
                            <p:sp>
                              <p:nvSpPr>
                                <p:cNvPr id="74" name="Left Bracket 73"/>
                                <p:cNvSpPr/>
                                <p:nvPr/>
                              </p:nvSpPr>
                              <p:spPr bwMode="auto">
                                <a:xfrm rot="16200000">
                                  <a:off x="5313386" y="1888764"/>
                                  <a:ext cx="236928" cy="4784472"/>
                                </a:xfrm>
                                <a:prstGeom prst="leftBracket">
                                  <a:avLst/>
                                </a:prstGeom>
                                <a:ln w="41275">
                                  <a:headEnd type="none" w="med" len="med"/>
                                  <a:tailEnd type="none" w="med" len="med"/>
                                </a:ln>
                              </p:spPr>
                              <p:style>
                                <a:lnRef idx="1">
                                  <a:schemeClr val="dk1"/>
                                </a:lnRef>
                                <a:fillRef idx="0">
                                  <a:schemeClr val="dk1"/>
                                </a:fillRef>
                                <a:effectRef idx="0">
                                  <a:schemeClr val="dk1"/>
                                </a:effectRef>
                                <a:fontRef idx="minor">
                                  <a:schemeClr val="tx1"/>
                                </a:fontRef>
                              </p:style>
                              <p:txBody>
                                <a:bodyPr rtlCol="0" anchor="ctr"/>
                                <a:lstStyle/>
                                <a:p>
                                  <a:pPr algn="ctr"/>
                                  <a:endParaRPr lang="en-US"/>
                                </a:p>
                              </p:txBody>
                            </p:sp>
                          </p:grpSp>
                        </p:grpSp>
                      </p:grpSp>
                    </p:grpSp>
                  </p:grpSp>
                  <p:sp>
                    <p:nvSpPr>
                      <p:cNvPr id="76" name="Rectangle 75"/>
                      <p:cNvSpPr/>
                      <p:nvPr/>
                    </p:nvSpPr>
                    <p:spPr>
                      <a:xfrm>
                        <a:off x="4331078" y="4143485"/>
                        <a:ext cx="2033556" cy="261610"/>
                      </a:xfrm>
                      <a:prstGeom prst="rect">
                        <a:avLst/>
                      </a:prstGeom>
                    </p:spPr>
                    <p:txBody>
                      <a:bodyPr wrap="square">
                        <a:spAutoFit/>
                      </a:bodyPr>
                      <a:lstStyle/>
                      <a:p>
                        <a:pPr algn="ctr"/>
                        <a:r>
                          <a:rPr lang="en-US" sz="1100" b="1" dirty="0" smtClean="0"/>
                          <a:t>SORT_INST</a:t>
                        </a:r>
                        <a:r>
                          <a:rPr lang="en-US" sz="1100" dirty="0" smtClean="0"/>
                          <a:t> </a:t>
                        </a:r>
                        <a:r>
                          <a:rPr lang="en-US" sz="1100" dirty="0"/>
                          <a:t>/ </a:t>
                        </a:r>
                        <a:r>
                          <a:rPr lang="en-US" sz="1100" b="1" dirty="0"/>
                          <a:t>SORT_ACK</a:t>
                        </a:r>
                        <a:endParaRPr lang="en-US" sz="1100" b="1" dirty="0"/>
                      </a:p>
                    </p:txBody>
                  </p:sp>
                </p:grpSp>
              </p:grpSp>
            </p:grpSp>
            <p:grpSp>
              <p:nvGrpSpPr>
                <p:cNvPr id="84" name="Group 83"/>
                <p:cNvGrpSpPr/>
                <p:nvPr/>
              </p:nvGrpSpPr>
              <p:grpSpPr>
                <a:xfrm>
                  <a:off x="3047550" y="2065377"/>
                  <a:ext cx="825986" cy="203133"/>
                  <a:chOff x="2102374" y="1361573"/>
                  <a:chExt cx="849667" cy="203133"/>
                </a:xfrm>
              </p:grpSpPr>
              <p:sp>
                <p:nvSpPr>
                  <p:cNvPr id="85" name="Left-Right Arrow 84"/>
                  <p:cNvSpPr/>
                  <p:nvPr/>
                </p:nvSpPr>
                <p:spPr bwMode="auto">
                  <a:xfrm>
                    <a:off x="2102374" y="1371599"/>
                    <a:ext cx="849667" cy="184244"/>
                  </a:xfrm>
                  <a:prstGeom prst="leftRightArrow">
                    <a:avLst/>
                  </a:prstGeom>
                  <a:solidFill>
                    <a:schemeClr val="bg2"/>
                  </a:solidFill>
                  <a:ln w="1270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72000" tIns="36000" rIns="36000" bIns="3600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l" defTabSz="995363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en-US" sz="1200" b="0" i="0" u="none" strike="noStrike" cap="none" normalizeH="0" baseline="0" dirty="0" err="1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</a:endParaRPr>
                  </a:p>
                </p:txBody>
              </p:sp>
              <p:sp>
                <p:nvSpPr>
                  <p:cNvPr id="86" name="TextBox 85"/>
                  <p:cNvSpPr txBox="1"/>
                  <p:nvPr/>
                </p:nvSpPr>
                <p:spPr>
                  <a:xfrm>
                    <a:off x="2361225" y="1361573"/>
                    <a:ext cx="320559" cy="203133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algn="ctr">
                      <a:lnSpc>
                        <a:spcPct val="110000"/>
                      </a:lnSpc>
                      <a:spcAft>
                        <a:spcPts val="500"/>
                      </a:spcAft>
                    </a:pPr>
                    <a:r>
                      <a:rPr lang="it-IT" sz="1200" dirty="0" smtClean="0"/>
                      <a:t>T2</a:t>
                    </a:r>
                    <a:endParaRPr lang="en-US" sz="1200" dirty="0" err="1" smtClean="0"/>
                  </a:p>
                </p:txBody>
              </p:sp>
            </p:grpSp>
          </p:grpSp>
        </p:grpSp>
        <p:cxnSp>
          <p:nvCxnSpPr>
            <p:cNvPr id="120" name="Elbow Connector 119"/>
            <p:cNvCxnSpPr>
              <a:stCxn id="23" idx="1"/>
              <a:endCxn id="32" idx="3"/>
            </p:cNvCxnSpPr>
            <p:nvPr/>
          </p:nvCxnSpPr>
          <p:spPr bwMode="auto">
            <a:xfrm rot="10800000" flipV="1">
              <a:off x="2046323" y="2806351"/>
              <a:ext cx="572841" cy="194091"/>
            </a:xfrm>
            <a:prstGeom prst="bentConnector3">
              <a:avLst>
                <a:gd name="adj1" fmla="val 66677"/>
              </a:avLst>
            </a:prstGeom>
            <a:solidFill>
              <a:schemeClr val="bg1"/>
            </a:solidFill>
            <a:ln w="127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8" name="Oval 77"/>
            <p:cNvSpPr/>
            <p:nvPr/>
          </p:nvSpPr>
          <p:spPr bwMode="auto">
            <a:xfrm>
              <a:off x="3797405" y="3438461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77" name="Oval 76"/>
            <p:cNvSpPr/>
            <p:nvPr/>
          </p:nvSpPr>
          <p:spPr bwMode="auto">
            <a:xfrm>
              <a:off x="3799024" y="1926303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80" name="Oval 79"/>
            <p:cNvSpPr/>
            <p:nvPr/>
          </p:nvSpPr>
          <p:spPr bwMode="auto">
            <a:xfrm>
              <a:off x="3801614" y="1693183"/>
              <a:ext cx="163773" cy="143301"/>
            </a:xfrm>
            <a:prstGeom prst="ellipse">
              <a:avLst/>
            </a:prstGeom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81" name="Oval 80"/>
            <p:cNvSpPr/>
            <p:nvPr/>
          </p:nvSpPr>
          <p:spPr bwMode="auto">
            <a:xfrm>
              <a:off x="2957727" y="1924752"/>
              <a:ext cx="163773" cy="143301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82" name="Oval 81"/>
            <p:cNvSpPr/>
            <p:nvPr/>
          </p:nvSpPr>
          <p:spPr bwMode="auto">
            <a:xfrm>
              <a:off x="7736720" y="3438461"/>
              <a:ext cx="163773" cy="143301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3377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50" lvl="0" indent="-285750">
              <a:spcBef>
                <a:spcPts val="1200"/>
              </a:spcBef>
              <a:buFont typeface="Wingdings" panose="05000000000000000000" pitchFamily="2" charset="2"/>
              <a:buChar char="q"/>
            </a:pPr>
            <a:r>
              <a:rPr lang="it-IT" dirty="0" smtClean="0"/>
              <a:t>MQ – Data </a:t>
            </a:r>
            <a:r>
              <a:rPr lang="it-IT" dirty="0" err="1" smtClean="0"/>
              <a:t>fields</a:t>
            </a:r>
            <a:r>
              <a:rPr lang="it-IT" dirty="0" smtClean="0"/>
              <a:t> from </a:t>
            </a:r>
            <a:r>
              <a:rPr lang="it-IT" dirty="0" err="1" smtClean="0"/>
              <a:t>sniffer</a:t>
            </a:r>
            <a:endParaRPr lang="it-IT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9710168"/>
              </p:ext>
            </p:extLst>
          </p:nvPr>
        </p:nvGraphicFramePr>
        <p:xfrm>
          <a:off x="414000" y="946379"/>
          <a:ext cx="8085944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3079"/>
                <a:gridCol w="2720061"/>
                <a:gridCol w="988431"/>
                <a:gridCol w="311301"/>
                <a:gridCol w="1613072"/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Field </a:t>
                      </a:r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1" kern="1200" noProof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ymbol</a:t>
                      </a:r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1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it-IT" sz="1100" noProof="0" dirty="0" err="1" smtClean="0"/>
                        <a:t>Frame_Time</a:t>
                      </a:r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err="1" smtClean="0"/>
                        <a:t>Timestamp</a:t>
                      </a:r>
                      <a:r>
                        <a:rPr lang="it-IT" sz="800" noProof="0" dirty="0" smtClean="0"/>
                        <a:t> di cattura del pacchetto da parte dello </a:t>
                      </a:r>
                      <a:r>
                        <a:rPr lang="it-IT" sz="800" noProof="0" dirty="0" err="1" smtClean="0"/>
                        <a:t>sniffer</a:t>
                      </a:r>
                      <a:r>
                        <a:rPr lang="it-IT" sz="800" noProof="0" dirty="0" smtClean="0"/>
                        <a:t>.</a:t>
                      </a:r>
                      <a:endParaRPr lang="en-US" sz="800" b="1" noProof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 err="1" smtClean="0"/>
                        <a:t>Frame_Time</a:t>
                      </a: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_P</a:t>
                      </a:r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err="1" smtClean="0"/>
                        <a:t>Timestamp</a:t>
                      </a:r>
                      <a:r>
                        <a:rPr lang="it-IT" sz="800" noProof="0" dirty="0" smtClean="0"/>
                        <a:t> di cattura </a:t>
                      </a:r>
                      <a:r>
                        <a:rPr lang="it-IT" sz="800" noProof="0" dirty="0" err="1" smtClean="0"/>
                        <a:t>dell</a:t>
                      </a:r>
                      <a:r>
                        <a:rPr lang="it-IT" sz="800" noProof="0" dirty="0" smtClean="0"/>
                        <a:t> pacchetto precedente (stesso</a:t>
                      </a:r>
                      <a:r>
                        <a:rPr lang="it-IT" sz="800" baseline="0" noProof="0" dirty="0" smtClean="0"/>
                        <a:t> VID)</a:t>
                      </a:r>
                      <a:r>
                        <a:rPr lang="it-IT" sz="800" noProof="0" dirty="0" smtClean="0"/>
                        <a:t> da parte dello </a:t>
                      </a:r>
                      <a:r>
                        <a:rPr lang="it-IT" sz="800" noProof="0" dirty="0" err="1" smtClean="0"/>
                        <a:t>sniffer</a:t>
                      </a:r>
                      <a:r>
                        <a:rPr lang="it-IT" sz="800" noProof="0" dirty="0" smtClean="0"/>
                        <a:t>.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 err="1" smtClean="0"/>
                        <a:t>Frame_Time</a:t>
                      </a:r>
                      <a:r>
                        <a:rPr lang="en-US" sz="1100" noProof="0" dirty="0" smtClean="0"/>
                        <a:t>_DIFF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8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 err="1" smtClean="0"/>
                        <a:t>Frame_Time</a:t>
                      </a:r>
                      <a:r>
                        <a:rPr lang="en-US" sz="1100" noProof="0" dirty="0" smtClean="0"/>
                        <a:t>_DIFF_SE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 smtClean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HDEVTM</a:t>
                      </a:r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Informazione di </a:t>
                      </a:r>
                      <a:r>
                        <a:rPr lang="it-IT" sz="800" noProof="0" dirty="0" err="1" smtClean="0"/>
                        <a:t>Timestamp</a:t>
                      </a:r>
                      <a:r>
                        <a:rPr lang="it-IT" sz="800" noProof="0" dirty="0" smtClean="0"/>
                        <a:t> inserito nel pacchetto MQ dal server.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noProof="0" dirty="0" smtClean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HDEVTM_P</a:t>
                      </a: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noProof="0" dirty="0" smtClean="0"/>
                        <a:t>Informazione di </a:t>
                      </a:r>
                      <a:r>
                        <a:rPr lang="it-IT" sz="800" noProof="0" dirty="0" err="1" smtClean="0"/>
                        <a:t>Timestamp</a:t>
                      </a:r>
                      <a:r>
                        <a:rPr lang="it-IT" sz="800" noProof="0" dirty="0" smtClean="0"/>
                        <a:t> del messaggio precedente (con stesso VID) inserito nel pacchetto MQ dal server.</a:t>
                      </a: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 smtClean="0"/>
                        <a:t>T2</a:t>
                      </a: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 smtClean="0"/>
                        <a:t>T6T7</a:t>
                      </a:r>
                      <a:endParaRPr lang="en-US" sz="11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 dirty="0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9154" y="3689406"/>
            <a:ext cx="549509" cy="91043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 bwMode="auto">
          <a:xfrm>
            <a:off x="5972021" y="1443400"/>
            <a:ext cx="163773" cy="143301"/>
          </a:xfrm>
          <a:prstGeom prst="ellipse">
            <a:avLst/>
          </a:prstGeom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0" name="Oval 9"/>
          <p:cNvSpPr/>
          <p:nvPr/>
        </p:nvSpPr>
        <p:spPr bwMode="auto">
          <a:xfrm>
            <a:off x="5972021" y="1811776"/>
            <a:ext cx="163773" cy="143301"/>
          </a:xfrm>
          <a:prstGeom prst="ellipse">
            <a:avLst/>
          </a:prstGeom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1" name="Oval 10"/>
          <p:cNvSpPr/>
          <p:nvPr/>
        </p:nvSpPr>
        <p:spPr bwMode="auto">
          <a:xfrm>
            <a:off x="5962086" y="2909155"/>
            <a:ext cx="163773" cy="143301"/>
          </a:xfrm>
          <a:prstGeom prst="ellipse">
            <a:avLst/>
          </a:prstGeom>
          <a:solidFill>
            <a:srgbClr val="00B0F0"/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9153" y="4062978"/>
            <a:ext cx="549509" cy="90507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0383" y="2105872"/>
            <a:ext cx="126773" cy="28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433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421453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7mnEzVN0i5uwEmadSa0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RECTANGLE 2_SHAPECLASSPROTECTIONTYPE" val="11"/>
  <p:tag name="TEXT BOX 4_SHAPECLASSPROTECTIONTYPE" val="11"/>
  <p:tag name="RECTANGLE 3_SHAPECLASSPROTECTIONTYPE" val="0"/>
  <p:tag name="SHAPESETGROUPCLASSNAME" val="ShapeSetGroup1"/>
  <p:tag name="SHAPESETCLASSNAME" val="ShapeSet4a"/>
  <p:tag name="COLORSETGROUPCLASSNAME" val="ColorSetGroup1"/>
  <p:tag name="COLORSETCLASSNAME" val="ColorSet1"/>
  <p:tag name="FONTSETGROUPCLASSNAME" val="FontSetGroup1"/>
  <p:tag name="STYLESETGROUPCLASSNAME" val="StyleSetGroup1"/>
  <p:tag name="MAPNAME" val="Map1"/>
  <p:tag name="CFG.LAYOUT" val="DHLCD01"/>
  <p:tag name="MLI" val="1"/>
  <p:tag name="CONFIG" val="DHLCD01"/>
  <p:tag name="ML_1" val="GT8000000"/>
  <p:tag name="ML_2" val="DHL_Extern.mc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RECTANGLE 2_SHAPECLASSPROTECTIONTYPE" val="11"/>
  <p:tag name="TEXT BOX 4_SHAPECLASSPROTECTIONTYPE" val="11"/>
  <p:tag name="RECTANGLE 3_SHAPECLASSPROTECTIONTYPE" val="0"/>
  <p:tag name="SHAPESETGROUPCLASSNAME" val="ShapeSetGroup1"/>
  <p:tag name="SHAPESETCLASSNAME" val="ShapeSet4a"/>
  <p:tag name="COLORSETGROUPCLASSNAME" val="ColorSetGroup1"/>
  <p:tag name="COLORSETCLASSNAME" val="ColorSet1"/>
  <p:tag name="FONTSETGROUPCLASSNAME" val="FontSetGroup1"/>
  <p:tag name="STYLESETGROUPCLASSNAME" val="StyleSetGroup1"/>
  <p:tag name="MAPNAME" val="Map1"/>
  <p:tag name="CFG.LAYOUT" val="DHLCD01"/>
  <p:tag name="MLI" val="1"/>
  <p:tag name="CONFIG" val="DHLCD01"/>
  <p:tag name="ML_1" val="GT8000000"/>
  <p:tag name="ML_2" val="DHL_Extern.mcr"/>
</p:tagLst>
</file>

<file path=ppt/theme/theme1.xml><?xml version="1.0" encoding="utf-8"?>
<a:theme xmlns:a="http://schemas.openxmlformats.org/drawingml/2006/main" name="DHL_PPT_16x9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16x9.potx" id="{EE4D8910-6653-4EC0-B95E-1F0E6430571C}" vid="{32F225D3-6505-4AAF-BB49-C7F70A3739E7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101064E6EC58D46A7FD20DE64ECD378" ma:contentTypeVersion="0" ma:contentTypeDescription="Create a new document." ma:contentTypeScope="" ma:versionID="fe6a3742a816299d903fc890581757a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FEFAC8A-EEA6-4CD2-9327-1702F453C5C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2DACCA1-0F17-44BE-8C2B-6FDDE00452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EC7B7E0C-FFAF-422D-90B6-765F08D3071F}">
  <ds:schemaRefs>
    <ds:schemaRef ds:uri="http://schemas.microsoft.com/office/2006/documentManagement/types"/>
    <ds:schemaRef ds:uri="http://purl.org/dc/terms/"/>
    <ds:schemaRef ds:uri="http://www.w3.org/XML/1998/namespace"/>
    <ds:schemaRef ds:uri="http://purl.org/dc/dcmitype/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HL_PPT_16x9</Template>
  <TotalTime>11639</TotalTime>
  <Words>125</Words>
  <Application>Microsoft Office PowerPoint</Application>
  <PresentationFormat>On-screen Show (16:9)</PresentationFormat>
  <Paragraphs>45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Wingdings</vt:lpstr>
      <vt:lpstr>DHL_PPT_16x9</vt:lpstr>
      <vt:lpstr>think-cell Folie</vt:lpstr>
      <vt:lpstr>PowerPoint Presentation</vt:lpstr>
      <vt:lpstr>Overview</vt:lpstr>
      <vt:lpstr>High Level Communications Schema – TIER 1 / TIER 2</vt:lpstr>
      <vt:lpstr>MQ – Data fields from sniffer</vt:lpstr>
      <vt:lpstr>PowerPoint Presentation</vt:lpstr>
    </vt:vector>
  </TitlesOfParts>
  <Company>DH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ease note: Important instructions for information classification</dc:title>
  <dc:creator>gpredari</dc:creator>
  <cp:keywords>16 to 9</cp:keywords>
  <cp:lastModifiedBy>Alberto Biasibetti (DHL IT)</cp:lastModifiedBy>
  <cp:revision>1211</cp:revision>
  <dcterms:created xsi:type="dcterms:W3CDTF">2015-02-02T13:39:48Z</dcterms:created>
  <dcterms:modified xsi:type="dcterms:W3CDTF">2019-11-04T15:20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fzeichnungsdatum">
    <vt:lpwstr>June 2013</vt:lpwstr>
  </property>
  <property fmtid="{D5CDD505-2E9C-101B-9397-08002B2CF9AE}" pid="3" name="Dokumentnummer">
    <vt:lpwstr>3.0</vt:lpwstr>
  </property>
  <property fmtid="{D5CDD505-2E9C-101B-9397-08002B2CF9AE}" pid="4" name="Office">
    <vt:lpwstr>2007/2010</vt:lpwstr>
  </property>
  <property fmtid="{D5CDD505-2E9C-101B-9397-08002B2CF9AE}" pid="5" name="ContentTypeId">
    <vt:lpwstr>0x0101005101064E6EC58D46A7FD20DE64ECD378</vt:lpwstr>
  </property>
</Properties>
</file>